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8" r:id="rId1"/>
  </p:sldMasterIdLst>
  <p:notesMasterIdLst>
    <p:notesMasterId r:id="rId16"/>
  </p:notesMasterIdLst>
  <p:handoutMasterIdLst>
    <p:handoutMasterId r:id="rId17"/>
  </p:handoutMasterIdLst>
  <p:sldIdLst>
    <p:sldId id="258" r:id="rId2"/>
    <p:sldId id="282" r:id="rId3"/>
    <p:sldId id="261" r:id="rId4"/>
    <p:sldId id="283" r:id="rId5"/>
    <p:sldId id="284" r:id="rId6"/>
    <p:sldId id="285" r:id="rId7"/>
    <p:sldId id="286" r:id="rId8"/>
    <p:sldId id="287" r:id="rId9"/>
    <p:sldId id="288" r:id="rId10"/>
    <p:sldId id="267" r:id="rId11"/>
    <p:sldId id="268" r:id="rId12"/>
    <p:sldId id="269" r:id="rId13"/>
    <p:sldId id="270" r:id="rId14"/>
    <p:sldId id="278" r:id="rId15"/>
  </p:sldIdLst>
  <p:sldSz cx="9144000" cy="5143500" type="screen16x9"/>
  <p:notesSz cx="7099300" cy="10234613"/>
  <p:custDataLst>
    <p:tags r:id="rId18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orpPropLib" id="{F89B3ACD-B923-43B4-B109-5354222ABA0C}">
          <p14:sldIdLst>
            <p14:sldId id="258"/>
            <p14:sldId id="282"/>
            <p14:sldId id="261"/>
          </p14:sldIdLst>
        </p14:section>
        <p14:section name="C wrapper of the SorpPropLib" id="{9077AB6A-4AF7-4278-8BD8-3A03C21AE4BE}">
          <p14:sldIdLst>
            <p14:sldId id="283"/>
            <p14:sldId id="284"/>
            <p14:sldId id="285"/>
            <p14:sldId id="286"/>
            <p14:sldId id="287"/>
            <p14:sldId id="288"/>
          </p14:sldIdLst>
        </p14:section>
        <p14:section name="Appendix" id="{C8A0CE8B-8D3B-4047-AFB3-C12FC8684F02}">
          <p14:sldIdLst>
            <p14:sldId id="267"/>
            <p14:sldId id="268"/>
            <p14:sldId id="269"/>
            <p14:sldId id="270"/>
            <p14:sldId id="2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127">
          <p15:clr>
            <a:srgbClr val="A4A3A4"/>
          </p15:clr>
        </p15:guide>
        <p15:guide id="2" pos="26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en Entrup" initials="ME" lastIdx="14" clrIdx="0">
    <p:extLst>
      <p:ext uri="{19B8F6BF-5375-455C-9EA6-DF929625EA0E}">
        <p15:presenceInfo xmlns:p15="http://schemas.microsoft.com/office/powerpoint/2012/main" userId="S-1-5-21-984199188-1710350754-3097887347-116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FF"/>
    <a:srgbClr val="33CC33"/>
    <a:srgbClr val="66FF33"/>
    <a:srgbClr val="003399"/>
    <a:srgbClr val="FFA6A6"/>
    <a:srgbClr val="F5FF85"/>
    <a:srgbClr val="FFFF00"/>
    <a:srgbClr val="FFFF99"/>
    <a:srgbClr val="0066FF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D886A4-DAFD-49DC-A0DB-1B4C886760BB}" v="1164" dt="2020-01-16T12:50:46.9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89929" autoAdjust="0"/>
  </p:normalViewPr>
  <p:slideViewPr>
    <p:cSldViewPr snapToGrid="0" showGuides="1">
      <p:cViewPr>
        <p:scale>
          <a:sx n="100" d="100"/>
          <a:sy n="100" d="100"/>
        </p:scale>
        <p:origin x="396" y="639"/>
      </p:cViewPr>
      <p:guideLst>
        <p:guide orient="horz" pos="3127"/>
        <p:guide pos="267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rko Engelpracht" userId="1ce880a0f4f81717" providerId="LiveId" clId="{49D886A4-DAFD-49DC-A0DB-1B4C886760BB}"/>
    <pc:docChg chg="undo custSel addSld delSld modSld sldOrd addSection delSection modSection">
      <pc:chgData name="Mirko Engelpracht" userId="1ce880a0f4f81717" providerId="LiveId" clId="{49D886A4-DAFD-49DC-A0DB-1B4C886760BB}" dt="2020-01-16T12:50:46.967" v="10311" actId="164"/>
      <pc:docMkLst>
        <pc:docMk/>
      </pc:docMkLst>
      <pc:sldChg chg="modSp ord modNotes">
        <pc:chgData name="Mirko Engelpracht" userId="1ce880a0f4f81717" providerId="LiveId" clId="{49D886A4-DAFD-49DC-A0DB-1B4C886760BB}" dt="2020-01-16T07:47:36.694" v="121" actId="790"/>
        <pc:sldMkLst>
          <pc:docMk/>
          <pc:sldMk cId="0" sldId="258"/>
        </pc:sldMkLst>
        <pc:spChg chg="mod">
          <ac:chgData name="Mirko Engelpracht" userId="1ce880a0f4f81717" providerId="LiveId" clId="{49D886A4-DAFD-49DC-A0DB-1B4C886760BB}" dt="2020-01-16T07:47:36.678" v="117" actId="790"/>
          <ac:spMkLst>
            <pc:docMk/>
            <pc:sldMk cId="0" sldId="258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684" v="118" actId="790"/>
          <ac:spMkLst>
            <pc:docMk/>
            <pc:sldMk cId="0" sldId="258"/>
            <ac:spMk id="3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684" v="119" actId="790"/>
          <ac:spMkLst>
            <pc:docMk/>
            <pc:sldMk cId="0" sldId="258"/>
            <ac:spMk id="6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684" v="120" actId="790"/>
          <ac:spMkLst>
            <pc:docMk/>
            <pc:sldMk cId="0" sldId="258"/>
            <ac:spMk id="7" creationId="{00000000-0000-0000-0000-000000000000}"/>
          </ac:spMkLst>
        </pc:spChg>
      </pc:sldChg>
      <pc:sldChg chg="addSp delSp modSp delAnim modAnim modNotes">
        <pc:chgData name="Mirko Engelpracht" userId="1ce880a0f4f81717" providerId="LiveId" clId="{49D886A4-DAFD-49DC-A0DB-1B4C886760BB}" dt="2020-01-16T08:41:21.694" v="2286"/>
        <pc:sldMkLst>
          <pc:docMk/>
          <pc:sldMk cId="1916582875" sldId="261"/>
        </pc:sldMkLst>
        <pc:spChg chg="mod">
          <ac:chgData name="Mirko Engelpracht" userId="1ce880a0f4f81717" providerId="LiveId" clId="{49D886A4-DAFD-49DC-A0DB-1B4C886760BB}" dt="2020-01-16T08:22:21.783" v="1335" actId="20577"/>
          <ac:spMkLst>
            <pc:docMk/>
            <pc:sldMk cId="1916582875" sldId="261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727" v="135" actId="790"/>
          <ac:spMkLst>
            <pc:docMk/>
            <pc:sldMk cId="1916582875" sldId="261"/>
            <ac:spMk id="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729" v="136" actId="790"/>
          <ac:spMkLst>
            <pc:docMk/>
            <pc:sldMk cId="1916582875" sldId="261"/>
            <ac:spMk id="5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8:39:47.354" v="2232" actId="14100"/>
          <ac:spMkLst>
            <pc:docMk/>
            <pc:sldMk cId="1916582875" sldId="261"/>
            <ac:spMk id="1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749" v="140" actId="790"/>
          <ac:spMkLst>
            <pc:docMk/>
            <pc:sldMk cId="1916582875" sldId="261"/>
            <ac:spMk id="15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760" v="141" actId="790"/>
          <ac:spMkLst>
            <pc:docMk/>
            <pc:sldMk cId="1916582875" sldId="261"/>
            <ac:spMk id="20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8:37:11.623" v="1973" actId="164"/>
          <ac:spMkLst>
            <pc:docMk/>
            <pc:sldMk cId="1916582875" sldId="261"/>
            <ac:spMk id="25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763" v="142" actId="790"/>
          <ac:spMkLst>
            <pc:docMk/>
            <pc:sldMk cId="1916582875" sldId="261"/>
            <ac:spMk id="29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8:18:29.802" v="1205"/>
          <ac:spMkLst>
            <pc:docMk/>
            <pc:sldMk cId="1916582875" sldId="261"/>
            <ac:spMk id="30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766" v="144" actId="790"/>
          <ac:spMkLst>
            <pc:docMk/>
            <pc:sldMk cId="1916582875" sldId="261"/>
            <ac:spMk id="31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8:18:20.155" v="1202"/>
          <ac:spMkLst>
            <pc:docMk/>
            <pc:sldMk cId="1916582875" sldId="261"/>
            <ac:spMk id="3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8:18:09.244" v="1199" actId="115"/>
          <ac:spMkLst>
            <pc:docMk/>
            <pc:sldMk cId="1916582875" sldId="261"/>
            <ac:spMk id="36" creationId="{9F4B179A-53A0-49B2-A596-015E10B71C89}"/>
          </ac:spMkLst>
        </pc:spChg>
        <pc:spChg chg="mod">
          <ac:chgData name="Mirko Engelpracht" userId="1ce880a0f4f81717" providerId="LiveId" clId="{49D886A4-DAFD-49DC-A0DB-1B4C886760BB}" dt="2020-01-16T07:47:36.741" v="138" actId="790"/>
          <ac:spMkLst>
            <pc:docMk/>
            <pc:sldMk cId="1916582875" sldId="261"/>
            <ac:spMk id="42" creationId="{F48AC860-9B23-4D6B-B6C5-A91CB3FF2954}"/>
          </ac:spMkLst>
        </pc:spChg>
        <pc:spChg chg="mod">
          <ac:chgData name="Mirko Engelpracht" userId="1ce880a0f4f81717" providerId="LiveId" clId="{49D886A4-DAFD-49DC-A0DB-1B4C886760BB}" dt="2020-01-16T08:37:52.162" v="2133"/>
          <ac:spMkLst>
            <pc:docMk/>
            <pc:sldMk cId="1916582875" sldId="261"/>
            <ac:spMk id="43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8:38:07.296" v="2164" actId="1035"/>
          <ac:spMkLst>
            <pc:docMk/>
            <pc:sldMk cId="1916582875" sldId="261"/>
            <ac:spMk id="48" creationId="{F48AC860-9B23-4D6B-B6C5-A91CB3FF2954}"/>
          </ac:spMkLst>
        </pc:spChg>
        <pc:spChg chg="mod">
          <ac:chgData name="Mirko Engelpracht" userId="1ce880a0f4f81717" providerId="LiveId" clId="{49D886A4-DAFD-49DC-A0DB-1B4C886760BB}" dt="2020-01-16T08:38:07.296" v="2164" actId="1035"/>
          <ac:spMkLst>
            <pc:docMk/>
            <pc:sldMk cId="1916582875" sldId="261"/>
            <ac:spMk id="49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8:39:07.369" v="2215"/>
          <ac:spMkLst>
            <pc:docMk/>
            <pc:sldMk cId="1916582875" sldId="261"/>
            <ac:spMk id="50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8:41:12.704" v="2285" actId="1036"/>
          <ac:spMkLst>
            <pc:docMk/>
            <pc:sldMk cId="1916582875" sldId="261"/>
            <ac:spMk id="52" creationId="{9F4B179A-53A0-49B2-A596-015E10B71C89}"/>
          </ac:spMkLst>
        </pc:spChg>
        <pc:grpChg chg="mod">
          <ac:chgData name="Mirko Engelpracht" userId="1ce880a0f4f81717" providerId="LiveId" clId="{49D886A4-DAFD-49DC-A0DB-1B4C886760BB}" dt="2020-01-16T08:18:29.802" v="1205"/>
          <ac:grpSpMkLst>
            <pc:docMk/>
            <pc:sldMk cId="1916582875" sldId="261"/>
            <ac:grpSpMk id="10" creationId="{00000000-0000-0000-0000-000000000000}"/>
          </ac:grpSpMkLst>
        </pc:grpChg>
        <pc:grpChg chg="mod">
          <ac:chgData name="Mirko Engelpracht" userId="1ce880a0f4f81717" providerId="LiveId" clId="{49D886A4-DAFD-49DC-A0DB-1B4C886760BB}" dt="2020-01-16T08:18:29.802" v="1205"/>
          <ac:grpSpMkLst>
            <pc:docMk/>
            <pc:sldMk cId="1916582875" sldId="261"/>
            <ac:grpSpMk id="13" creationId="{00000000-0000-0000-0000-000000000000}"/>
          </ac:grpSpMkLst>
        </pc:grpChg>
        <pc:grpChg chg="del mod">
          <ac:chgData name="Mirko Engelpracht" userId="1ce880a0f4f81717" providerId="LiveId" clId="{49D886A4-DAFD-49DC-A0DB-1B4C886760BB}" dt="2020-01-16T08:27:17.194" v="1662" actId="478"/>
          <ac:grpSpMkLst>
            <pc:docMk/>
            <pc:sldMk cId="1916582875" sldId="261"/>
            <ac:grpSpMk id="21" creationId="{00000000-0000-0000-0000-000000000000}"/>
          </ac:grpSpMkLst>
        </pc:grpChg>
        <pc:grpChg chg="mod">
          <ac:chgData name="Mirko Engelpracht" userId="1ce880a0f4f81717" providerId="LiveId" clId="{49D886A4-DAFD-49DC-A0DB-1B4C886760BB}" dt="2020-01-16T08:38:27.514" v="2207" actId="465"/>
          <ac:grpSpMkLst>
            <pc:docMk/>
            <pc:sldMk cId="1916582875" sldId="261"/>
            <ac:grpSpMk id="22" creationId="{00000000-0000-0000-0000-000000000000}"/>
          </ac:grpSpMkLst>
        </pc:grpChg>
        <pc:grpChg chg="add mod">
          <ac:chgData name="Mirko Engelpracht" userId="1ce880a0f4f81717" providerId="LiveId" clId="{49D886A4-DAFD-49DC-A0DB-1B4C886760BB}" dt="2020-01-16T08:37:07.045" v="1972" actId="164"/>
          <ac:grpSpMkLst>
            <pc:docMk/>
            <pc:sldMk cId="1916582875" sldId="261"/>
            <ac:grpSpMk id="24" creationId="{D32A8596-19EF-42B3-AC9D-498161F4D9BD}"/>
          </ac:grpSpMkLst>
        </pc:grpChg>
        <pc:grpChg chg="add mod">
          <ac:chgData name="Mirko Engelpracht" userId="1ce880a0f4f81717" providerId="LiveId" clId="{49D886A4-DAFD-49DC-A0DB-1B4C886760BB}" dt="2020-01-16T08:38:27.514" v="2207" actId="465"/>
          <ac:grpSpMkLst>
            <pc:docMk/>
            <pc:sldMk cId="1916582875" sldId="261"/>
            <ac:grpSpMk id="26" creationId="{DC7147EA-13B5-4068-A8B8-990FEA23C96E}"/>
          </ac:grpSpMkLst>
        </pc:grpChg>
        <pc:grpChg chg="mod">
          <ac:chgData name="Mirko Engelpracht" userId="1ce880a0f4f81717" providerId="LiveId" clId="{49D886A4-DAFD-49DC-A0DB-1B4C886760BB}" dt="2020-01-16T08:18:20.155" v="1202"/>
          <ac:grpSpMkLst>
            <pc:docMk/>
            <pc:sldMk cId="1916582875" sldId="261"/>
            <ac:grpSpMk id="28" creationId="{00000000-0000-0000-0000-000000000000}"/>
          </ac:grpSpMkLst>
        </pc:grpChg>
        <pc:grpChg chg="add del">
          <ac:chgData name="Mirko Engelpracht" userId="1ce880a0f4f81717" providerId="LiveId" clId="{49D886A4-DAFD-49DC-A0DB-1B4C886760BB}" dt="2020-01-16T08:27:09.562" v="1659"/>
          <ac:grpSpMkLst>
            <pc:docMk/>
            <pc:sldMk cId="1916582875" sldId="261"/>
            <ac:grpSpMk id="32" creationId="{FE0DC5A4-9047-4CA0-9C62-2BDEBE84A8B3}"/>
          </ac:grpSpMkLst>
        </pc:grpChg>
        <pc:grpChg chg="mod">
          <ac:chgData name="Mirko Engelpracht" userId="1ce880a0f4f81717" providerId="LiveId" clId="{49D886A4-DAFD-49DC-A0DB-1B4C886760BB}" dt="2020-01-16T08:38:27.514" v="2207" actId="465"/>
          <ac:grpSpMkLst>
            <pc:docMk/>
            <pc:sldMk cId="1916582875" sldId="261"/>
            <ac:grpSpMk id="47" creationId="{00000000-0000-0000-0000-000000000000}"/>
          </ac:grpSpMkLst>
        </pc:grpChg>
        <pc:grpChg chg="add mod">
          <ac:chgData name="Mirko Engelpracht" userId="1ce880a0f4f81717" providerId="LiveId" clId="{49D886A4-DAFD-49DC-A0DB-1B4C886760BB}" dt="2020-01-16T08:39:41.343" v="2231" actId="1036"/>
          <ac:grpSpMkLst>
            <pc:docMk/>
            <pc:sldMk cId="1916582875" sldId="261"/>
            <ac:grpSpMk id="58" creationId="{BD55DDB7-30F6-4020-8E74-70DED187903B}"/>
          </ac:grpSpMkLst>
        </pc:grpChg>
        <pc:graphicFrameChg chg="add del mod">
          <ac:chgData name="Mirko Engelpracht" userId="1ce880a0f4f81717" providerId="LiveId" clId="{49D886A4-DAFD-49DC-A0DB-1B4C886760BB}" dt="2020-01-16T08:31:22.235" v="1869"/>
          <ac:graphicFrameMkLst>
            <pc:docMk/>
            <pc:sldMk cId="1916582875" sldId="261"/>
            <ac:graphicFrameMk id="18" creationId="{FE232EB9-52A8-440E-8434-81DDA78C4B4B}"/>
          </ac:graphicFrameMkLst>
        </pc:graphicFrameChg>
        <pc:graphicFrameChg chg="add del mod">
          <ac:chgData name="Mirko Engelpracht" userId="1ce880a0f4f81717" providerId="LiveId" clId="{49D886A4-DAFD-49DC-A0DB-1B4C886760BB}" dt="2020-01-16T08:31:27.283" v="1871"/>
          <ac:graphicFrameMkLst>
            <pc:docMk/>
            <pc:sldMk cId="1916582875" sldId="261"/>
            <ac:graphicFrameMk id="19" creationId="{3FDAF2FF-A279-4040-AFE5-9374C9A15894}"/>
          </ac:graphicFrameMkLst>
        </pc:graphicFrameChg>
        <pc:graphicFrameChg chg="add del mod">
          <ac:chgData name="Mirko Engelpracht" userId="1ce880a0f4f81717" providerId="LiveId" clId="{49D886A4-DAFD-49DC-A0DB-1B4C886760BB}" dt="2020-01-16T08:31:29.470" v="1873"/>
          <ac:graphicFrameMkLst>
            <pc:docMk/>
            <pc:sldMk cId="1916582875" sldId="261"/>
            <ac:graphicFrameMk id="23" creationId="{91AA2D46-E9AE-44DC-A990-4AE5131A9451}"/>
          </ac:graphicFrameMkLst>
        </pc:graphicFrameChg>
        <pc:picChg chg="add mod">
          <ac:chgData name="Mirko Engelpracht" userId="1ce880a0f4f81717" providerId="LiveId" clId="{49D886A4-DAFD-49DC-A0DB-1B4C886760BB}" dt="2020-01-16T08:37:11.623" v="1973" actId="164"/>
          <ac:picMkLst>
            <pc:docMk/>
            <pc:sldMk cId="1916582875" sldId="261"/>
            <ac:picMk id="8" creationId="{DD023F28-9011-4484-8A66-D4ECF2719B58}"/>
          </ac:picMkLst>
        </pc:picChg>
        <pc:picChg chg="add mod">
          <ac:chgData name="Mirko Engelpracht" userId="1ce880a0f4f81717" providerId="LiveId" clId="{49D886A4-DAFD-49DC-A0DB-1B4C886760BB}" dt="2020-01-16T08:37:11.623" v="1973" actId="164"/>
          <ac:picMkLst>
            <pc:docMk/>
            <pc:sldMk cId="1916582875" sldId="261"/>
            <ac:picMk id="11" creationId="{EA41381B-D080-4356-BBF4-0AA6EA978E42}"/>
          </ac:picMkLst>
        </pc:picChg>
        <pc:picChg chg="add mod modCrop">
          <ac:chgData name="Mirko Engelpracht" userId="1ce880a0f4f81717" providerId="LiveId" clId="{49D886A4-DAFD-49DC-A0DB-1B4C886760BB}" dt="2020-01-16T08:37:11.623" v="1973" actId="164"/>
          <ac:picMkLst>
            <pc:docMk/>
            <pc:sldMk cId="1916582875" sldId="261"/>
            <ac:picMk id="17" creationId="{FC00826E-5DF5-4332-9DFA-6700D872E182}"/>
          </ac:picMkLst>
        </pc:picChg>
        <pc:picChg chg="add mod">
          <ac:chgData name="Mirko Engelpracht" userId="1ce880a0f4f81717" providerId="LiveId" clId="{49D886A4-DAFD-49DC-A0DB-1B4C886760BB}" dt="2020-01-16T08:37:11.623" v="1973" actId="164"/>
          <ac:picMkLst>
            <pc:docMk/>
            <pc:sldMk cId="1916582875" sldId="261"/>
            <ac:picMk id="1026" creationId="{30E61992-D726-48DB-A663-259458EC796A}"/>
          </ac:picMkLst>
        </pc:picChg>
        <pc:picChg chg="add del mod">
          <ac:chgData name="Mirko Engelpracht" userId="1ce880a0f4f81717" providerId="LiveId" clId="{49D886A4-DAFD-49DC-A0DB-1B4C886760BB}" dt="2020-01-16T08:32:16.628" v="1878" actId="478"/>
          <ac:picMkLst>
            <pc:docMk/>
            <pc:sldMk cId="1916582875" sldId="261"/>
            <ac:picMk id="1028" creationId="{B491DDD4-B721-4ACB-88ED-CBE7D3548CA8}"/>
          </ac:picMkLst>
        </pc:picChg>
        <pc:picChg chg="add mod">
          <ac:chgData name="Mirko Engelpracht" userId="1ce880a0f4f81717" providerId="LiveId" clId="{49D886A4-DAFD-49DC-A0DB-1B4C886760BB}" dt="2020-01-16T08:37:11.623" v="1973" actId="164"/>
          <ac:picMkLst>
            <pc:docMk/>
            <pc:sldMk cId="1916582875" sldId="261"/>
            <ac:picMk id="1030" creationId="{ED96B5EA-FF9E-4D42-B6C0-2554E73EAAE7}"/>
          </ac:picMkLst>
        </pc:picChg>
        <pc:picChg chg="add del">
          <ac:chgData name="Mirko Engelpracht" userId="1ce880a0f4f81717" providerId="LiveId" clId="{49D886A4-DAFD-49DC-A0DB-1B4C886760BB}" dt="2020-01-16T08:36:01.826" v="1945" actId="478"/>
          <ac:picMkLst>
            <pc:docMk/>
            <pc:sldMk cId="1916582875" sldId="261"/>
            <ac:picMk id="1032" creationId="{29F0D42B-32BB-4E85-8DB7-28A4FD7AD847}"/>
          </ac:picMkLst>
        </pc:picChg>
        <pc:picChg chg="add mod">
          <ac:chgData name="Mirko Engelpracht" userId="1ce880a0f4f81717" providerId="LiveId" clId="{49D886A4-DAFD-49DC-A0DB-1B4C886760BB}" dt="2020-01-16T08:37:11.623" v="1973" actId="164"/>
          <ac:picMkLst>
            <pc:docMk/>
            <pc:sldMk cId="1916582875" sldId="261"/>
            <ac:picMk id="1034" creationId="{4CAC82F8-4CAA-4AF2-BEF6-C77640129405}"/>
          </ac:picMkLst>
        </pc:picChg>
        <pc:cxnChg chg="mod">
          <ac:chgData name="Mirko Engelpracht" userId="1ce880a0f4f81717" providerId="LiveId" clId="{49D886A4-DAFD-49DC-A0DB-1B4C886760BB}" dt="2020-01-16T08:40:15.905" v="2235" actId="14100"/>
          <ac:cxnSpMkLst>
            <pc:docMk/>
            <pc:sldMk cId="1916582875" sldId="261"/>
            <ac:cxnSpMk id="51" creationId="{00000000-0000-0000-0000-000000000000}"/>
          </ac:cxnSpMkLst>
        </pc:cxnChg>
      </pc:sldChg>
      <pc:sldChg chg="modSp del modNotes">
        <pc:chgData name="Mirko Engelpracht" userId="1ce880a0f4f81717" providerId="LiveId" clId="{49D886A4-DAFD-49DC-A0DB-1B4C886760BB}" dt="2020-01-16T09:25:08.677" v="3552" actId="47"/>
        <pc:sldMkLst>
          <pc:docMk/>
          <pc:sldMk cId="2789732230" sldId="264"/>
        </pc:sldMkLst>
        <pc:spChg chg="mod">
          <ac:chgData name="Mirko Engelpracht" userId="1ce880a0f4f81717" providerId="LiveId" clId="{49D886A4-DAFD-49DC-A0DB-1B4C886760BB}" dt="2020-01-16T07:47:36.782" v="153" actId="790"/>
          <ac:spMkLst>
            <pc:docMk/>
            <pc:sldMk cId="2789732230" sldId="264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06" v="154"/>
          <ac:spMkLst>
            <pc:docMk/>
            <pc:sldMk cId="2789732230" sldId="264"/>
            <ac:spMk id="3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06" v="155" actId="790"/>
          <ac:spMkLst>
            <pc:docMk/>
            <pc:sldMk cId="2789732230" sldId="264"/>
            <ac:spMk id="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06" v="156" actId="790"/>
          <ac:spMkLst>
            <pc:docMk/>
            <pc:sldMk cId="2789732230" sldId="264"/>
            <ac:spMk id="5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40" v="163" actId="790"/>
          <ac:spMkLst>
            <pc:docMk/>
            <pc:sldMk cId="2789732230" sldId="264"/>
            <ac:spMk id="31" creationId="{9F4B179A-53A0-49B2-A596-015E10B71C89}"/>
          </ac:spMkLst>
        </pc:spChg>
        <pc:spChg chg="mod">
          <ac:chgData name="Mirko Engelpracht" userId="1ce880a0f4f81717" providerId="LiveId" clId="{49D886A4-DAFD-49DC-A0DB-1B4C886760BB}" dt="2020-01-16T07:47:36.833" v="161" actId="790"/>
          <ac:spMkLst>
            <pc:docMk/>
            <pc:sldMk cId="2789732230" sldId="264"/>
            <ac:spMk id="35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39" v="162" actId="790"/>
          <ac:spMkLst>
            <pc:docMk/>
            <pc:sldMk cId="2789732230" sldId="264"/>
            <ac:spMk id="36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06" v="157" actId="790"/>
          <ac:spMkLst>
            <pc:docMk/>
            <pc:sldMk cId="2789732230" sldId="264"/>
            <ac:spMk id="37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25" v="158" actId="790"/>
          <ac:spMkLst>
            <pc:docMk/>
            <pc:sldMk cId="2789732230" sldId="264"/>
            <ac:spMk id="38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25" v="159" actId="790"/>
          <ac:spMkLst>
            <pc:docMk/>
            <pc:sldMk cId="2789732230" sldId="264"/>
            <ac:spMk id="39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33" v="160" actId="790"/>
          <ac:spMkLst>
            <pc:docMk/>
            <pc:sldMk cId="2789732230" sldId="264"/>
            <ac:spMk id="47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45" v="164" actId="790"/>
          <ac:spMkLst>
            <pc:docMk/>
            <pc:sldMk cId="2789732230" sldId="264"/>
            <ac:spMk id="48" creationId="{00000000-0000-0000-0000-000000000000}"/>
          </ac:spMkLst>
        </pc:spChg>
      </pc:sldChg>
      <pc:sldChg chg="modSp modNotes">
        <pc:chgData name="Mirko Engelpracht" userId="1ce880a0f4f81717" providerId="LiveId" clId="{49D886A4-DAFD-49DC-A0DB-1B4C886760BB}" dt="2020-01-16T09:09:30.718" v="3154" actId="20577"/>
        <pc:sldMkLst>
          <pc:docMk/>
          <pc:sldMk cId="2178958481" sldId="267"/>
        </pc:sldMkLst>
        <pc:spChg chg="mod">
          <ac:chgData name="Mirko Engelpracht" userId="1ce880a0f4f81717" providerId="LiveId" clId="{49D886A4-DAFD-49DC-A0DB-1B4C886760BB}" dt="2020-01-16T09:05:14.542" v="3150" actId="20577"/>
          <ac:spMkLst>
            <pc:docMk/>
            <pc:sldMk cId="2178958481" sldId="267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9:05:03.595" v="3130" actId="20577"/>
          <ac:spMkLst>
            <pc:docMk/>
            <pc:sldMk cId="2178958481" sldId="267"/>
            <ac:spMk id="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937" v="181" actId="790"/>
          <ac:spMkLst>
            <pc:docMk/>
            <pc:sldMk cId="2178958481" sldId="267"/>
            <ac:spMk id="5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946" v="182" actId="790"/>
          <ac:spMkLst>
            <pc:docMk/>
            <pc:sldMk cId="2178958481" sldId="267"/>
            <ac:spMk id="7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969" v="183"/>
          <ac:spMkLst>
            <pc:docMk/>
            <pc:sldMk cId="2178958481" sldId="267"/>
            <ac:spMk id="8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969" v="184" actId="790"/>
          <ac:spMkLst>
            <pc:docMk/>
            <pc:sldMk cId="2178958481" sldId="267"/>
            <ac:spMk id="9" creationId="{9F4B179A-53A0-49B2-A596-015E10B71C89}"/>
          </ac:spMkLst>
        </pc:spChg>
        <pc:spChg chg="mod">
          <ac:chgData name="Mirko Engelpracht" userId="1ce880a0f4f81717" providerId="LiveId" clId="{49D886A4-DAFD-49DC-A0DB-1B4C886760BB}" dt="2020-01-16T09:09:30.718" v="3154" actId="20577"/>
          <ac:spMkLst>
            <pc:docMk/>
            <pc:sldMk cId="2178958481" sldId="267"/>
            <ac:spMk id="11" creationId="{9F4B179A-53A0-49B2-A596-015E10B71C89}"/>
          </ac:spMkLst>
        </pc:spChg>
        <pc:spChg chg="mod">
          <ac:chgData name="Mirko Engelpracht" userId="1ce880a0f4f81717" providerId="LiveId" clId="{49D886A4-DAFD-49DC-A0DB-1B4C886760BB}" dt="2020-01-16T07:47:36.981" v="186"/>
          <ac:spMkLst>
            <pc:docMk/>
            <pc:sldMk cId="2178958481" sldId="267"/>
            <ac:spMk id="13" creationId="{00000000-0000-0000-0000-000000000000}"/>
          </ac:spMkLst>
        </pc:spChg>
      </pc:sldChg>
      <pc:sldChg chg="modSp modNotes">
        <pc:chgData name="Mirko Engelpracht" userId="1ce880a0f4f81717" providerId="LiveId" clId="{49D886A4-DAFD-49DC-A0DB-1B4C886760BB}" dt="2020-01-16T09:04:40.055" v="3126" actId="20577"/>
        <pc:sldMkLst>
          <pc:docMk/>
          <pc:sldMk cId="3884266497" sldId="268"/>
        </pc:sldMkLst>
        <pc:spChg chg="mod">
          <ac:chgData name="Mirko Engelpracht" userId="1ce880a0f4f81717" providerId="LiveId" clId="{49D886A4-DAFD-49DC-A0DB-1B4C886760BB}" dt="2020-01-16T07:47:36.985" v="188" actId="790"/>
          <ac:spMkLst>
            <pc:docMk/>
            <pc:sldMk cId="3884266497" sldId="268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9:04:40.055" v="3126" actId="20577"/>
          <ac:spMkLst>
            <pc:docMk/>
            <pc:sldMk cId="3884266497" sldId="268"/>
            <ac:spMk id="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994" v="190" actId="790"/>
          <ac:spMkLst>
            <pc:docMk/>
            <pc:sldMk cId="3884266497" sldId="268"/>
            <ac:spMk id="5" creationId="{00000000-0000-0000-0000-000000000000}"/>
          </ac:spMkLst>
        </pc:spChg>
      </pc:sldChg>
      <pc:sldChg chg="modSp modNotes">
        <pc:chgData name="Mirko Engelpracht" userId="1ce880a0f4f81717" providerId="LiveId" clId="{49D886A4-DAFD-49DC-A0DB-1B4C886760BB}" dt="2020-01-16T09:05:26.468" v="3152" actId="20577"/>
        <pc:sldMkLst>
          <pc:docMk/>
          <pc:sldMk cId="3707213390" sldId="269"/>
        </pc:sldMkLst>
        <pc:spChg chg="mod">
          <ac:chgData name="Mirko Engelpracht" userId="1ce880a0f4f81717" providerId="LiveId" clId="{49D886A4-DAFD-49DC-A0DB-1B4C886760BB}" dt="2020-01-16T07:47:37.041" v="192" actId="790"/>
          <ac:spMkLst>
            <pc:docMk/>
            <pc:sldMk cId="3707213390" sldId="269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9:05:26.468" v="3152" actId="20577"/>
          <ac:spMkLst>
            <pc:docMk/>
            <pc:sldMk cId="3707213390" sldId="269"/>
            <ac:spMk id="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056" v="194" actId="790"/>
          <ac:spMkLst>
            <pc:docMk/>
            <pc:sldMk cId="3707213390" sldId="269"/>
            <ac:spMk id="5" creationId="{00000000-0000-0000-0000-000000000000}"/>
          </ac:spMkLst>
        </pc:spChg>
      </pc:sldChg>
      <pc:sldChg chg="modSp modNotes">
        <pc:chgData name="Mirko Engelpracht" userId="1ce880a0f4f81717" providerId="LiveId" clId="{49D886A4-DAFD-49DC-A0DB-1B4C886760BB}" dt="2020-01-16T09:24:13.313" v="3516" actId="20577"/>
        <pc:sldMkLst>
          <pc:docMk/>
          <pc:sldMk cId="1851229169" sldId="270"/>
        </pc:sldMkLst>
        <pc:spChg chg="mod">
          <ac:chgData name="Mirko Engelpracht" userId="1ce880a0f4f81717" providerId="LiveId" clId="{49D886A4-DAFD-49DC-A0DB-1B4C886760BB}" dt="2020-01-16T07:47:37.089" v="196" actId="790"/>
          <ac:spMkLst>
            <pc:docMk/>
            <pc:sldMk cId="1851229169" sldId="270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9:21:30.148" v="3435" actId="113"/>
          <ac:spMkLst>
            <pc:docMk/>
            <pc:sldMk cId="1851229169" sldId="270"/>
            <ac:spMk id="3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9:24:13.313" v="3516" actId="20577"/>
          <ac:spMkLst>
            <pc:docMk/>
            <pc:sldMk cId="1851229169" sldId="270"/>
            <ac:spMk id="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127" v="199" actId="790"/>
          <ac:spMkLst>
            <pc:docMk/>
            <pc:sldMk cId="1851229169" sldId="270"/>
            <ac:spMk id="5" creationId="{00000000-0000-0000-0000-000000000000}"/>
          </ac:spMkLst>
        </pc:spChg>
      </pc:sldChg>
      <pc:sldChg chg="modSp del modNotes">
        <pc:chgData name="Mirko Engelpracht" userId="1ce880a0f4f81717" providerId="LiveId" clId="{49D886A4-DAFD-49DC-A0DB-1B4C886760BB}" dt="2020-01-16T12:46:54.744" v="10139" actId="47"/>
        <pc:sldMkLst>
          <pc:docMk/>
          <pc:sldMk cId="3878014736" sldId="271"/>
        </pc:sldMkLst>
        <pc:spChg chg="mod">
          <ac:chgData name="Mirko Engelpracht" userId="1ce880a0f4f81717" providerId="LiveId" clId="{49D886A4-DAFD-49DC-A0DB-1B4C886760BB}" dt="2020-01-16T07:47:37.185" v="213" actId="790"/>
          <ac:spMkLst>
            <pc:docMk/>
            <pc:sldMk cId="3878014736" sldId="271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185" v="214" actId="790"/>
          <ac:spMkLst>
            <pc:docMk/>
            <pc:sldMk cId="3878014736" sldId="271"/>
            <ac:spMk id="3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191" v="215" actId="790"/>
          <ac:spMkLst>
            <pc:docMk/>
            <pc:sldMk cId="3878014736" sldId="271"/>
            <ac:spMk id="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192" v="216" actId="790"/>
          <ac:spMkLst>
            <pc:docMk/>
            <pc:sldMk cId="3878014736" sldId="271"/>
            <ac:spMk id="5" creationId="{00000000-0000-0000-0000-000000000000}"/>
          </ac:spMkLst>
        </pc:spChg>
      </pc:sldChg>
      <pc:sldChg chg="modSp del modNotes">
        <pc:chgData name="Mirko Engelpracht" userId="1ce880a0f4f81717" providerId="LiveId" clId="{49D886A4-DAFD-49DC-A0DB-1B4C886760BB}" dt="2020-01-16T12:46:54.744" v="10139" actId="47"/>
        <pc:sldMkLst>
          <pc:docMk/>
          <pc:sldMk cId="1581951541" sldId="272"/>
        </pc:sldMkLst>
        <pc:spChg chg="mod">
          <ac:chgData name="Mirko Engelpracht" userId="1ce880a0f4f81717" providerId="LiveId" clId="{49D886A4-DAFD-49DC-A0DB-1B4C886760BB}" dt="2020-01-16T11:43:58.143" v="6941" actId="20577"/>
          <ac:spMkLst>
            <pc:docMk/>
            <pc:sldMk cId="1581951541" sldId="272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169" v="207" actId="790"/>
          <ac:spMkLst>
            <pc:docMk/>
            <pc:sldMk cId="1581951541" sldId="272"/>
            <ac:spMk id="3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169" v="208" actId="790"/>
          <ac:spMkLst>
            <pc:docMk/>
            <pc:sldMk cId="1581951541" sldId="272"/>
            <ac:spMk id="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169" v="209" actId="790"/>
          <ac:spMkLst>
            <pc:docMk/>
            <pc:sldMk cId="1581951541" sldId="272"/>
            <ac:spMk id="5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178" v="210" actId="790"/>
          <ac:spMkLst>
            <pc:docMk/>
            <pc:sldMk cId="1581951541" sldId="272"/>
            <ac:spMk id="7" creationId="{F48AC860-9B23-4D6B-B6C5-A91CB3FF2954}"/>
          </ac:spMkLst>
        </pc:spChg>
        <pc:spChg chg="mod">
          <ac:chgData name="Mirko Engelpracht" userId="1ce880a0f4f81717" providerId="LiveId" clId="{49D886A4-DAFD-49DC-A0DB-1B4C886760BB}" dt="2020-01-16T07:47:37.178" v="211" actId="790"/>
          <ac:spMkLst>
            <pc:docMk/>
            <pc:sldMk cId="1581951541" sldId="272"/>
            <ac:spMk id="8" creationId="{9F4B179A-53A0-49B2-A596-015E10B71C89}"/>
          </ac:spMkLst>
        </pc:spChg>
      </pc:sldChg>
      <pc:sldChg chg="modSp del modNotes">
        <pc:chgData name="Mirko Engelpracht" userId="1ce880a0f4f81717" providerId="LiveId" clId="{49D886A4-DAFD-49DC-A0DB-1B4C886760BB}" dt="2020-01-16T09:25:04.026" v="3551" actId="47"/>
        <pc:sldMkLst>
          <pc:docMk/>
          <pc:sldMk cId="3576833977" sldId="277"/>
        </pc:sldMkLst>
        <pc:spChg chg="mod">
          <ac:chgData name="Mirko Engelpracht" userId="1ce880a0f4f81717" providerId="LiveId" clId="{49D886A4-DAFD-49DC-A0DB-1B4C886760BB}" dt="2020-01-16T07:47:36.863" v="166" actId="790"/>
          <ac:spMkLst>
            <pc:docMk/>
            <pc:sldMk cId="3576833977" sldId="277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75" v="167"/>
          <ac:spMkLst>
            <pc:docMk/>
            <pc:sldMk cId="3576833977" sldId="277"/>
            <ac:spMk id="3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78" v="168" actId="790"/>
          <ac:spMkLst>
            <pc:docMk/>
            <pc:sldMk cId="3576833977" sldId="277"/>
            <ac:spMk id="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81" v="169" actId="790"/>
          <ac:spMkLst>
            <pc:docMk/>
            <pc:sldMk cId="3576833977" sldId="277"/>
            <ac:spMk id="5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913" v="176" actId="790"/>
          <ac:spMkLst>
            <pc:docMk/>
            <pc:sldMk cId="3576833977" sldId="277"/>
            <ac:spMk id="31" creationId="{9F4B179A-53A0-49B2-A596-015E10B71C89}"/>
          </ac:spMkLst>
        </pc:spChg>
        <pc:spChg chg="mod">
          <ac:chgData name="Mirko Engelpracht" userId="1ce880a0f4f81717" providerId="LiveId" clId="{49D886A4-DAFD-49DC-A0DB-1B4C886760BB}" dt="2020-01-16T07:47:36.905" v="174" actId="790"/>
          <ac:spMkLst>
            <pc:docMk/>
            <pc:sldMk cId="3576833977" sldId="277"/>
            <ac:spMk id="35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911" v="175" actId="790"/>
          <ac:spMkLst>
            <pc:docMk/>
            <pc:sldMk cId="3576833977" sldId="277"/>
            <ac:spMk id="36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81" v="170" actId="790"/>
          <ac:spMkLst>
            <pc:docMk/>
            <pc:sldMk cId="3576833977" sldId="277"/>
            <ac:spMk id="37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96" v="171" actId="790"/>
          <ac:spMkLst>
            <pc:docMk/>
            <pc:sldMk cId="3576833977" sldId="277"/>
            <ac:spMk id="38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896" v="172" actId="790"/>
          <ac:spMkLst>
            <pc:docMk/>
            <pc:sldMk cId="3576833977" sldId="277"/>
            <ac:spMk id="39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905" v="173" actId="790"/>
          <ac:spMkLst>
            <pc:docMk/>
            <pc:sldMk cId="3576833977" sldId="277"/>
            <ac:spMk id="47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913" v="177" actId="790"/>
          <ac:spMkLst>
            <pc:docMk/>
            <pc:sldMk cId="3576833977" sldId="277"/>
            <ac:spMk id="48" creationId="{00000000-0000-0000-0000-000000000000}"/>
          </ac:spMkLst>
        </pc:spChg>
      </pc:sldChg>
      <pc:sldChg chg="addSp delSp modSp modNotes">
        <pc:chgData name="Mirko Engelpracht" userId="1ce880a0f4f81717" providerId="LiveId" clId="{49D886A4-DAFD-49DC-A0DB-1B4C886760BB}" dt="2020-01-16T09:24:10.155" v="3514" actId="20577"/>
        <pc:sldMkLst>
          <pc:docMk/>
          <pc:sldMk cId="2590413092" sldId="278"/>
        </pc:sldMkLst>
        <pc:spChg chg="mod">
          <ac:chgData name="Mirko Engelpracht" userId="1ce880a0f4f81717" providerId="LiveId" clId="{49D886A4-DAFD-49DC-A0DB-1B4C886760BB}" dt="2020-01-16T07:47:37.129" v="201" actId="790"/>
          <ac:spMkLst>
            <pc:docMk/>
            <pc:sldMk cId="2590413092" sldId="278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9:23:19.407" v="3511" actId="948"/>
          <ac:spMkLst>
            <pc:docMk/>
            <pc:sldMk cId="2590413092" sldId="278"/>
            <ac:spMk id="3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9:24:10.155" v="3514" actId="20577"/>
          <ac:spMkLst>
            <pc:docMk/>
            <pc:sldMk cId="2590413092" sldId="278"/>
            <ac:spMk id="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161" v="204" actId="790"/>
          <ac:spMkLst>
            <pc:docMk/>
            <pc:sldMk cId="2590413092" sldId="278"/>
            <ac:spMk id="5" creationId="{00000000-0000-0000-0000-000000000000}"/>
          </ac:spMkLst>
        </pc:spChg>
        <pc:spChg chg="add del mod">
          <ac:chgData name="Mirko Engelpracht" userId="1ce880a0f4f81717" providerId="LiveId" clId="{49D886A4-DAFD-49DC-A0DB-1B4C886760BB}" dt="2020-01-16T09:22:13.851" v="3479" actId="478"/>
          <ac:spMkLst>
            <pc:docMk/>
            <pc:sldMk cId="2590413092" sldId="278"/>
            <ac:spMk id="6" creationId="{3A3340B6-A735-4815-BDE7-EC0B6F33D940}"/>
          </ac:spMkLst>
        </pc:spChg>
      </pc:sldChg>
      <pc:sldChg chg="modSp del modNotes">
        <pc:chgData name="Mirko Engelpracht" userId="1ce880a0f4f81717" providerId="LiveId" clId="{49D886A4-DAFD-49DC-A0DB-1B4C886760BB}" dt="2020-01-16T12:46:54.744" v="10139" actId="47"/>
        <pc:sldMkLst>
          <pc:docMk/>
          <pc:sldMk cId="36421619" sldId="279"/>
        </pc:sldMkLst>
        <pc:spChg chg="mod">
          <ac:chgData name="Mirko Engelpracht" userId="1ce880a0f4f81717" providerId="LiveId" clId="{49D886A4-DAFD-49DC-A0DB-1B4C886760BB}" dt="2020-01-16T07:47:37.194" v="218" actId="790"/>
          <ac:spMkLst>
            <pc:docMk/>
            <pc:sldMk cId="36421619" sldId="279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201" v="219" actId="790"/>
          <ac:spMkLst>
            <pc:docMk/>
            <pc:sldMk cId="36421619" sldId="279"/>
            <ac:spMk id="3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208" v="220" actId="790"/>
          <ac:spMkLst>
            <pc:docMk/>
            <pc:sldMk cId="36421619" sldId="279"/>
            <ac:spMk id="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209" v="221" actId="790"/>
          <ac:spMkLst>
            <pc:docMk/>
            <pc:sldMk cId="36421619" sldId="279"/>
            <ac:spMk id="5" creationId="{00000000-0000-0000-0000-000000000000}"/>
          </ac:spMkLst>
        </pc:spChg>
      </pc:sldChg>
      <pc:sldChg chg="modSp del modNotes">
        <pc:chgData name="Mirko Engelpracht" userId="1ce880a0f4f81717" providerId="LiveId" clId="{49D886A4-DAFD-49DC-A0DB-1B4C886760BB}" dt="2020-01-16T12:46:54.744" v="10139" actId="47"/>
        <pc:sldMkLst>
          <pc:docMk/>
          <pc:sldMk cId="639933147" sldId="280"/>
        </pc:sldMkLst>
        <pc:spChg chg="mod">
          <ac:chgData name="Mirko Engelpracht" userId="1ce880a0f4f81717" providerId="LiveId" clId="{49D886A4-DAFD-49DC-A0DB-1B4C886760BB}" dt="2020-01-16T07:47:37.211" v="223" actId="790"/>
          <ac:spMkLst>
            <pc:docMk/>
            <pc:sldMk cId="639933147" sldId="280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225" v="224" actId="790"/>
          <ac:spMkLst>
            <pc:docMk/>
            <pc:sldMk cId="639933147" sldId="280"/>
            <ac:spMk id="3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225" v="225" actId="790"/>
          <ac:spMkLst>
            <pc:docMk/>
            <pc:sldMk cId="639933147" sldId="280"/>
            <ac:spMk id="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225" v="226" actId="790"/>
          <ac:spMkLst>
            <pc:docMk/>
            <pc:sldMk cId="639933147" sldId="280"/>
            <ac:spMk id="5" creationId="{00000000-0000-0000-0000-000000000000}"/>
          </ac:spMkLst>
        </pc:spChg>
      </pc:sldChg>
      <pc:sldChg chg="modSp del modNotes">
        <pc:chgData name="Mirko Engelpracht" userId="1ce880a0f4f81717" providerId="LiveId" clId="{49D886A4-DAFD-49DC-A0DB-1B4C886760BB}" dt="2020-01-16T12:46:54.744" v="10139" actId="47"/>
        <pc:sldMkLst>
          <pc:docMk/>
          <pc:sldMk cId="1654500940" sldId="281"/>
        </pc:sldMkLst>
        <pc:spChg chg="mod">
          <ac:chgData name="Mirko Engelpracht" userId="1ce880a0f4f81717" providerId="LiveId" clId="{49D886A4-DAFD-49DC-A0DB-1B4C886760BB}" dt="2020-01-16T07:47:37.225" v="228" actId="790"/>
          <ac:spMkLst>
            <pc:docMk/>
            <pc:sldMk cId="1654500940" sldId="281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241" v="229" actId="790"/>
          <ac:spMkLst>
            <pc:docMk/>
            <pc:sldMk cId="1654500940" sldId="281"/>
            <ac:spMk id="3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241" v="230" actId="790"/>
          <ac:spMkLst>
            <pc:docMk/>
            <pc:sldMk cId="1654500940" sldId="281"/>
            <ac:spMk id="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7.241" v="231" actId="790"/>
          <ac:spMkLst>
            <pc:docMk/>
            <pc:sldMk cId="1654500940" sldId="281"/>
            <ac:spMk id="5" creationId="{00000000-0000-0000-0000-000000000000}"/>
          </ac:spMkLst>
        </pc:spChg>
      </pc:sldChg>
      <pc:sldChg chg="addSp delSp modSp add delAnim modAnim modNotes">
        <pc:chgData name="Mirko Engelpracht" userId="1ce880a0f4f81717" providerId="LiveId" clId="{49D886A4-DAFD-49DC-A0DB-1B4C886760BB}" dt="2020-01-16T08:27:00.922" v="1657" actId="164"/>
        <pc:sldMkLst>
          <pc:docMk/>
          <pc:sldMk cId="4159863661" sldId="282"/>
        </pc:sldMkLst>
        <pc:spChg chg="mod">
          <ac:chgData name="Mirko Engelpracht" userId="1ce880a0f4f81717" providerId="LiveId" clId="{49D886A4-DAFD-49DC-A0DB-1B4C886760BB}" dt="2020-01-16T08:22:16.968" v="1334" actId="20577"/>
          <ac:spMkLst>
            <pc:docMk/>
            <pc:sldMk cId="4159863661" sldId="282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56:37.684" v="501" actId="20577"/>
          <ac:spMkLst>
            <pc:docMk/>
            <pc:sldMk cId="4159863661" sldId="282"/>
            <ac:spMk id="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694" v="124" actId="790"/>
          <ac:spMkLst>
            <pc:docMk/>
            <pc:sldMk cId="4159863661" sldId="282"/>
            <ac:spMk id="5" creationId="{00000000-0000-0000-0000-000000000000}"/>
          </ac:spMkLst>
        </pc:spChg>
        <pc:spChg chg="add mod topLvl">
          <ac:chgData name="Mirko Engelpracht" userId="1ce880a0f4f81717" providerId="LiveId" clId="{49D886A4-DAFD-49DC-A0DB-1B4C886760BB}" dt="2020-01-16T08:27:00.922" v="1657" actId="164"/>
          <ac:spMkLst>
            <pc:docMk/>
            <pc:sldMk cId="4159863661" sldId="282"/>
            <ac:spMk id="8" creationId="{31447090-8AC4-43F8-B27D-C1D5D50CA68E}"/>
          </ac:spMkLst>
        </pc:spChg>
        <pc:spChg chg="del">
          <ac:chgData name="Mirko Engelpracht" userId="1ce880a0f4f81717" providerId="LiveId" clId="{49D886A4-DAFD-49DC-A0DB-1B4C886760BB}" dt="2020-01-16T07:28:27.434" v="53" actId="478"/>
          <ac:spMkLst>
            <pc:docMk/>
            <pc:sldMk cId="4159863661" sldId="282"/>
            <ac:spMk id="14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694" v="125" actId="790"/>
          <ac:spMkLst>
            <pc:docMk/>
            <pc:sldMk cId="4159863661" sldId="282"/>
            <ac:spMk id="15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694" v="126" actId="790"/>
          <ac:spMkLst>
            <pc:docMk/>
            <pc:sldMk cId="4159863661" sldId="282"/>
            <ac:spMk id="20" creationId="{00000000-0000-0000-0000-000000000000}"/>
          </ac:spMkLst>
        </pc:spChg>
        <pc:spChg chg="del">
          <ac:chgData name="Mirko Engelpracht" userId="1ce880a0f4f81717" providerId="LiveId" clId="{49D886A4-DAFD-49DC-A0DB-1B4C886760BB}" dt="2020-01-16T07:28:23.167" v="49" actId="478"/>
          <ac:spMkLst>
            <pc:docMk/>
            <pc:sldMk cId="4159863661" sldId="282"/>
            <ac:spMk id="25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694" v="127" actId="790"/>
          <ac:spMkLst>
            <pc:docMk/>
            <pc:sldMk cId="4159863661" sldId="282"/>
            <ac:spMk id="29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47.726" v="234"/>
          <ac:spMkLst>
            <pc:docMk/>
            <pc:sldMk cId="4159863661" sldId="282"/>
            <ac:spMk id="30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7:47:36.714" v="129" actId="790"/>
          <ac:spMkLst>
            <pc:docMk/>
            <pc:sldMk cId="4159863661" sldId="282"/>
            <ac:spMk id="31" creationId="{00000000-0000-0000-0000-000000000000}"/>
          </ac:spMkLst>
        </pc:spChg>
        <pc:spChg chg="add mod">
          <ac:chgData name="Mirko Engelpracht" userId="1ce880a0f4f81717" providerId="LiveId" clId="{49D886A4-DAFD-49DC-A0DB-1B4C886760BB}" dt="2020-01-16T08:04:04.219" v="1122"/>
          <ac:spMkLst>
            <pc:docMk/>
            <pc:sldMk cId="4159863661" sldId="282"/>
            <ac:spMk id="32" creationId="{B0E222F7-1E7E-4604-BF95-09EAD5057CF1}"/>
          </ac:spMkLst>
        </pc:spChg>
        <pc:spChg chg="mod">
          <ac:chgData name="Mirko Engelpracht" userId="1ce880a0f4f81717" providerId="LiveId" clId="{49D886A4-DAFD-49DC-A0DB-1B4C886760BB}" dt="2020-01-16T07:48:49.522" v="331"/>
          <ac:spMkLst>
            <pc:docMk/>
            <pc:sldMk cId="4159863661" sldId="282"/>
            <ac:spMk id="34" creationId="{00000000-0000-0000-0000-000000000000}"/>
          </ac:spMkLst>
        </pc:spChg>
        <pc:spChg chg="mod topLvl">
          <ac:chgData name="Mirko Engelpracht" userId="1ce880a0f4f81717" providerId="LiveId" clId="{49D886A4-DAFD-49DC-A0DB-1B4C886760BB}" dt="2020-01-16T08:27:00.922" v="1657" actId="164"/>
          <ac:spMkLst>
            <pc:docMk/>
            <pc:sldMk cId="4159863661" sldId="282"/>
            <ac:spMk id="36" creationId="{9F4B179A-53A0-49B2-A596-015E10B71C89}"/>
          </ac:spMkLst>
        </pc:spChg>
        <pc:spChg chg="add mod">
          <ac:chgData name="Mirko Engelpracht" userId="1ce880a0f4f81717" providerId="LiveId" clId="{49D886A4-DAFD-49DC-A0DB-1B4C886760BB}" dt="2020-01-16T08:27:00.922" v="1657" actId="164"/>
          <ac:spMkLst>
            <pc:docMk/>
            <pc:sldMk cId="4159863661" sldId="282"/>
            <ac:spMk id="39" creationId="{608882A6-72C1-433D-8C1C-C8108B78DD0E}"/>
          </ac:spMkLst>
        </pc:spChg>
        <pc:spChg chg="del">
          <ac:chgData name="Mirko Engelpracht" userId="1ce880a0f4f81717" providerId="LiveId" clId="{49D886A4-DAFD-49DC-A0DB-1B4C886760BB}" dt="2020-01-16T07:28:25.688" v="51" actId="478"/>
          <ac:spMkLst>
            <pc:docMk/>
            <pc:sldMk cId="4159863661" sldId="282"/>
            <ac:spMk id="50" creationId="{00000000-0000-0000-0000-000000000000}"/>
          </ac:spMkLst>
        </pc:spChg>
        <pc:spChg chg="del">
          <ac:chgData name="Mirko Engelpracht" userId="1ce880a0f4f81717" providerId="LiveId" clId="{49D886A4-DAFD-49DC-A0DB-1B4C886760BB}" dt="2020-01-16T07:28:25.002" v="50" actId="478"/>
          <ac:spMkLst>
            <pc:docMk/>
            <pc:sldMk cId="4159863661" sldId="282"/>
            <ac:spMk id="52" creationId="{9F4B179A-53A0-49B2-A596-015E10B71C89}"/>
          </ac:spMkLst>
        </pc:spChg>
        <pc:grpChg chg="add mod">
          <ac:chgData name="Mirko Engelpracht" userId="1ce880a0f4f81717" providerId="LiveId" clId="{49D886A4-DAFD-49DC-A0DB-1B4C886760BB}" dt="2020-01-16T08:27:00.922" v="1657" actId="164"/>
          <ac:grpSpMkLst>
            <pc:docMk/>
            <pc:sldMk cId="4159863661" sldId="282"/>
            <ac:grpSpMk id="3" creationId="{98ACF999-A6C2-4D95-BBD1-9E567E02C156}"/>
          </ac:grpSpMkLst>
        </pc:grpChg>
        <pc:grpChg chg="add del mod">
          <ac:chgData name="Mirko Engelpracht" userId="1ce880a0f4f81717" providerId="LiveId" clId="{49D886A4-DAFD-49DC-A0DB-1B4C886760BB}" dt="2020-01-16T08:26:05.681" v="1620" actId="165"/>
          <ac:grpSpMkLst>
            <pc:docMk/>
            <pc:sldMk cId="4159863661" sldId="282"/>
            <ac:grpSpMk id="9" creationId="{090D64E6-15A3-44F3-A4BF-42533DC715DF}"/>
          </ac:grpSpMkLst>
        </pc:grpChg>
        <pc:grpChg chg="mod topLvl">
          <ac:chgData name="Mirko Engelpracht" userId="1ce880a0f4f81717" providerId="LiveId" clId="{49D886A4-DAFD-49DC-A0DB-1B4C886760BB}" dt="2020-01-16T08:27:00.922" v="1657" actId="164"/>
          <ac:grpSpMkLst>
            <pc:docMk/>
            <pc:sldMk cId="4159863661" sldId="282"/>
            <ac:grpSpMk id="10" creationId="{00000000-0000-0000-0000-000000000000}"/>
          </ac:grpSpMkLst>
        </pc:grpChg>
        <pc:grpChg chg="add mod">
          <ac:chgData name="Mirko Engelpracht" userId="1ce880a0f4f81717" providerId="LiveId" clId="{49D886A4-DAFD-49DC-A0DB-1B4C886760BB}" dt="2020-01-16T08:27:00.922" v="1657" actId="164"/>
          <ac:grpSpMkLst>
            <pc:docMk/>
            <pc:sldMk cId="4159863661" sldId="282"/>
            <ac:grpSpMk id="11" creationId="{1447E97A-ECFE-4204-AE48-088E02946D96}"/>
          </ac:grpSpMkLst>
        </pc:grpChg>
        <pc:grpChg chg="del mod topLvl">
          <ac:chgData name="Mirko Engelpracht" userId="1ce880a0f4f81717" providerId="LiveId" clId="{49D886A4-DAFD-49DC-A0DB-1B4C886760BB}" dt="2020-01-16T07:28:58.988" v="60" actId="165"/>
          <ac:grpSpMkLst>
            <pc:docMk/>
            <pc:sldMk cId="4159863661" sldId="282"/>
            <ac:grpSpMk id="13" creationId="{00000000-0000-0000-0000-000000000000}"/>
          </ac:grpSpMkLst>
        </pc:grpChg>
        <pc:grpChg chg="del mod">
          <ac:chgData name="Mirko Engelpracht" userId="1ce880a0f4f81717" providerId="LiveId" clId="{49D886A4-DAFD-49DC-A0DB-1B4C886760BB}" dt="2020-01-16T07:28:55.183" v="58" actId="165"/>
          <ac:grpSpMkLst>
            <pc:docMk/>
            <pc:sldMk cId="4159863661" sldId="282"/>
            <ac:grpSpMk id="21" creationId="{00000000-0000-0000-0000-000000000000}"/>
          </ac:grpSpMkLst>
        </pc:grpChg>
        <pc:grpChg chg="del">
          <ac:chgData name="Mirko Engelpracht" userId="1ce880a0f4f81717" providerId="LiveId" clId="{49D886A4-DAFD-49DC-A0DB-1B4C886760BB}" dt="2020-01-16T07:28:20.563" v="47" actId="478"/>
          <ac:grpSpMkLst>
            <pc:docMk/>
            <pc:sldMk cId="4159863661" sldId="282"/>
            <ac:grpSpMk id="22" creationId="{00000000-0000-0000-0000-000000000000}"/>
          </ac:grpSpMkLst>
        </pc:grpChg>
        <pc:grpChg chg="mod topLvl">
          <ac:chgData name="Mirko Engelpracht" userId="1ce880a0f4f81717" providerId="LiveId" clId="{49D886A4-DAFD-49DC-A0DB-1B4C886760BB}" dt="2020-01-16T07:48:49.522" v="331"/>
          <ac:grpSpMkLst>
            <pc:docMk/>
            <pc:sldMk cId="4159863661" sldId="282"/>
            <ac:grpSpMk id="28" creationId="{00000000-0000-0000-0000-000000000000}"/>
          </ac:grpSpMkLst>
        </pc:grpChg>
        <pc:grpChg chg="add del mod">
          <ac:chgData name="Mirko Engelpracht" userId="1ce880a0f4f81717" providerId="LiveId" clId="{49D886A4-DAFD-49DC-A0DB-1B4C886760BB}" dt="2020-01-16T08:23:45.734" v="1451"/>
          <ac:grpSpMkLst>
            <pc:docMk/>
            <pc:sldMk cId="4159863661" sldId="282"/>
            <ac:grpSpMk id="35" creationId="{9341EAAC-0149-4621-83C0-0F691D39A773}"/>
          </ac:grpSpMkLst>
        </pc:grpChg>
        <pc:grpChg chg="del">
          <ac:chgData name="Mirko Engelpracht" userId="1ce880a0f4f81717" providerId="LiveId" clId="{49D886A4-DAFD-49DC-A0DB-1B4C886760BB}" dt="2020-01-16T07:28:21.753" v="48" actId="478"/>
          <ac:grpSpMkLst>
            <pc:docMk/>
            <pc:sldMk cId="4159863661" sldId="282"/>
            <ac:grpSpMk id="47" creationId="{00000000-0000-0000-0000-000000000000}"/>
          </ac:grpSpMkLst>
        </pc:grpChg>
        <pc:picChg chg="mod topLvl">
          <ac:chgData name="Mirko Engelpracht" userId="1ce880a0f4f81717" providerId="LiveId" clId="{49D886A4-DAFD-49DC-A0DB-1B4C886760BB}" dt="2020-01-16T07:29:04.154" v="61" actId="164"/>
          <ac:picMkLst>
            <pc:docMk/>
            <pc:sldMk cId="4159863661" sldId="282"/>
            <ac:picMk id="12" creationId="{00000000-0000-0000-0000-000000000000}"/>
          </ac:picMkLst>
        </pc:picChg>
        <pc:cxnChg chg="add mod topLvl">
          <ac:chgData name="Mirko Engelpracht" userId="1ce880a0f4f81717" providerId="LiveId" clId="{49D886A4-DAFD-49DC-A0DB-1B4C886760BB}" dt="2020-01-16T08:27:00.922" v="1657" actId="164"/>
          <ac:cxnSpMkLst>
            <pc:docMk/>
            <pc:sldMk cId="4159863661" sldId="282"/>
            <ac:cxnSpMk id="7" creationId="{015A3AFC-8582-430C-92EE-2C5C0599BDC0}"/>
          </ac:cxnSpMkLst>
        </pc:cxnChg>
        <pc:cxnChg chg="add mod">
          <ac:chgData name="Mirko Engelpracht" userId="1ce880a0f4f81717" providerId="LiveId" clId="{49D886A4-DAFD-49DC-A0DB-1B4C886760BB}" dt="2020-01-16T08:27:00.922" v="1657" actId="164"/>
          <ac:cxnSpMkLst>
            <pc:docMk/>
            <pc:sldMk cId="4159863661" sldId="282"/>
            <ac:cxnSpMk id="33" creationId="{0FE70B89-BC73-4E9E-88D1-4E537185EF6C}"/>
          </ac:cxnSpMkLst>
        </pc:cxnChg>
        <pc:cxnChg chg="del mod">
          <ac:chgData name="Mirko Engelpracht" userId="1ce880a0f4f81717" providerId="LiveId" clId="{49D886A4-DAFD-49DC-A0DB-1B4C886760BB}" dt="2020-01-16T07:28:26.351" v="52" actId="478"/>
          <ac:cxnSpMkLst>
            <pc:docMk/>
            <pc:sldMk cId="4159863661" sldId="282"/>
            <ac:cxnSpMk id="51" creationId="{00000000-0000-0000-0000-000000000000}"/>
          </ac:cxnSpMkLst>
        </pc:cxnChg>
      </pc:sldChg>
      <pc:sldChg chg="addSp modSp add modAnim">
        <pc:chgData name="Mirko Engelpracht" userId="1ce880a0f4f81717" providerId="LiveId" clId="{49D886A4-DAFD-49DC-A0DB-1B4C886760BB}" dt="2020-01-16T09:02:01.129" v="3068" actId="948"/>
        <pc:sldMkLst>
          <pc:docMk/>
          <pc:sldMk cId="299352169" sldId="283"/>
        </pc:sldMkLst>
        <pc:spChg chg="mod">
          <ac:chgData name="Mirko Engelpracht" userId="1ce880a0f4f81717" providerId="LiveId" clId="{49D886A4-DAFD-49DC-A0DB-1B4C886760BB}" dt="2020-01-16T08:45:46.441" v="2372" actId="20577"/>
          <ac:spMkLst>
            <pc:docMk/>
            <pc:sldMk cId="299352169" sldId="283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08:52:15.147" v="2550" actId="14100"/>
          <ac:spMkLst>
            <pc:docMk/>
            <pc:sldMk cId="299352169" sldId="283"/>
            <ac:spMk id="24" creationId="{9B51E6E7-3E89-4B0B-A585-B5C9085D7F27}"/>
          </ac:spMkLst>
        </pc:spChg>
        <pc:spChg chg="mod">
          <ac:chgData name="Mirko Engelpracht" userId="1ce880a0f4f81717" providerId="LiveId" clId="{49D886A4-DAFD-49DC-A0DB-1B4C886760BB}" dt="2020-01-16T08:55:02.997" v="2738" actId="20577"/>
          <ac:spMkLst>
            <pc:docMk/>
            <pc:sldMk cId="299352169" sldId="283"/>
            <ac:spMk id="27" creationId="{18D70CE5-2744-42F4-87CA-DC6D10D3762A}"/>
          </ac:spMkLst>
        </pc:spChg>
        <pc:spChg chg="mod">
          <ac:chgData name="Mirko Engelpracht" userId="1ce880a0f4f81717" providerId="LiveId" clId="{49D886A4-DAFD-49DC-A0DB-1B4C886760BB}" dt="2020-01-16T09:02:01.129" v="3068" actId="948"/>
          <ac:spMkLst>
            <pc:docMk/>
            <pc:sldMk cId="299352169" sldId="283"/>
            <ac:spMk id="32" creationId="{B0E222F7-1E7E-4604-BF95-09EAD5057CF1}"/>
          </ac:spMkLst>
        </pc:spChg>
        <pc:grpChg chg="add mod">
          <ac:chgData name="Mirko Engelpracht" userId="1ce880a0f4f81717" providerId="LiveId" clId="{49D886A4-DAFD-49DC-A0DB-1B4C886760BB}" dt="2020-01-16T08:55:46.857" v="2828" actId="1036"/>
          <ac:grpSpMkLst>
            <pc:docMk/>
            <pc:sldMk cId="299352169" sldId="283"/>
            <ac:grpSpMk id="22" creationId="{C6C0821A-295E-4D82-BFB0-4EF1347B1BB6}"/>
          </ac:grpSpMkLst>
        </pc:grpChg>
        <pc:grpChg chg="add mod">
          <ac:chgData name="Mirko Engelpracht" userId="1ce880a0f4f81717" providerId="LiveId" clId="{49D886A4-DAFD-49DC-A0DB-1B4C886760BB}" dt="2020-01-16T08:55:46.857" v="2828" actId="1036"/>
          <ac:grpSpMkLst>
            <pc:docMk/>
            <pc:sldMk cId="299352169" sldId="283"/>
            <ac:grpSpMk id="25" creationId="{2FD01C9E-7C8F-4EA3-ADD4-B374D779F0C6}"/>
          </ac:grpSpMkLst>
        </pc:grpChg>
      </pc:sldChg>
      <pc:sldChg chg="addSp delSp modSp add">
        <pc:chgData name="Mirko Engelpracht" userId="1ce880a0f4f81717" providerId="LiveId" clId="{49D886A4-DAFD-49DC-A0DB-1B4C886760BB}" dt="2020-01-16T09:59:22.107" v="5601" actId="14100"/>
        <pc:sldMkLst>
          <pc:docMk/>
          <pc:sldMk cId="3012939127" sldId="284"/>
        </pc:sldMkLst>
        <pc:spChg chg="mod">
          <ac:chgData name="Mirko Engelpracht" userId="1ce880a0f4f81717" providerId="LiveId" clId="{49D886A4-DAFD-49DC-A0DB-1B4C886760BB}" dt="2020-01-16T09:15:40.468" v="3210" actId="6549"/>
          <ac:spMkLst>
            <pc:docMk/>
            <pc:sldMk cId="3012939127" sldId="284"/>
            <ac:spMk id="2" creationId="{00000000-0000-0000-0000-000000000000}"/>
          </ac:spMkLst>
        </pc:spChg>
        <pc:spChg chg="del topLvl">
          <ac:chgData name="Mirko Engelpracht" userId="1ce880a0f4f81717" providerId="LiveId" clId="{49D886A4-DAFD-49DC-A0DB-1B4C886760BB}" dt="2020-01-16T09:15:00.066" v="3170" actId="478"/>
          <ac:spMkLst>
            <pc:docMk/>
            <pc:sldMk cId="3012939127" sldId="284"/>
            <ac:spMk id="23" creationId="{DE42E6D9-AA06-45FB-8EA8-55003B2A904C}"/>
          </ac:spMkLst>
        </pc:spChg>
        <pc:spChg chg="del topLvl">
          <ac:chgData name="Mirko Engelpracht" userId="1ce880a0f4f81717" providerId="LiveId" clId="{49D886A4-DAFD-49DC-A0DB-1B4C886760BB}" dt="2020-01-16T09:15:02.521" v="3172" actId="478"/>
          <ac:spMkLst>
            <pc:docMk/>
            <pc:sldMk cId="3012939127" sldId="284"/>
            <ac:spMk id="24" creationId="{9B51E6E7-3E89-4B0B-A585-B5C9085D7F27}"/>
          </ac:spMkLst>
        </pc:spChg>
        <pc:spChg chg="mod">
          <ac:chgData name="Mirko Engelpracht" userId="1ce880a0f4f81717" providerId="LiveId" clId="{49D886A4-DAFD-49DC-A0DB-1B4C886760BB}" dt="2020-01-16T09:55:15.298" v="5310" actId="948"/>
          <ac:spMkLst>
            <pc:docMk/>
            <pc:sldMk cId="3012939127" sldId="284"/>
            <ac:spMk id="32" creationId="{B0E222F7-1E7E-4604-BF95-09EAD5057CF1}"/>
          </ac:spMkLst>
        </pc:spChg>
        <pc:spChg chg="mod">
          <ac:chgData name="Mirko Engelpracht" userId="1ce880a0f4f81717" providerId="LiveId" clId="{49D886A4-DAFD-49DC-A0DB-1B4C886760BB}" dt="2020-01-16T09:59:22.107" v="5601" actId="14100"/>
          <ac:spMkLst>
            <pc:docMk/>
            <pc:sldMk cId="3012939127" sldId="284"/>
            <ac:spMk id="38" creationId="{67A28BDA-66A0-4791-B521-C1ABEE9EE40D}"/>
          </ac:spMkLst>
        </pc:spChg>
        <pc:spChg chg="mod">
          <ac:chgData name="Mirko Engelpracht" userId="1ce880a0f4f81717" providerId="LiveId" clId="{49D886A4-DAFD-49DC-A0DB-1B4C886760BB}" dt="2020-01-16T09:59:19.778" v="5600" actId="14100"/>
          <ac:spMkLst>
            <pc:docMk/>
            <pc:sldMk cId="3012939127" sldId="284"/>
            <ac:spMk id="42" creationId="{8669F2EF-BF10-4C57-814F-8A56F79429C7}"/>
          </ac:spMkLst>
        </pc:spChg>
        <pc:spChg chg="mod">
          <ac:chgData name="Mirko Engelpracht" userId="1ce880a0f4f81717" providerId="LiveId" clId="{49D886A4-DAFD-49DC-A0DB-1B4C886760BB}" dt="2020-01-16T09:59:16.073" v="5599" actId="14100"/>
          <ac:spMkLst>
            <pc:docMk/>
            <pc:sldMk cId="3012939127" sldId="284"/>
            <ac:spMk id="45" creationId="{71165BC6-C9D5-46F5-91F2-F37A23300114}"/>
          </ac:spMkLst>
        </pc:spChg>
        <pc:grpChg chg="del">
          <ac:chgData name="Mirko Engelpracht" userId="1ce880a0f4f81717" providerId="LiveId" clId="{49D886A4-DAFD-49DC-A0DB-1B4C886760BB}" dt="2020-01-16T09:04:11.226" v="3124" actId="478"/>
          <ac:grpSpMkLst>
            <pc:docMk/>
            <pc:sldMk cId="3012939127" sldId="284"/>
            <ac:grpSpMk id="11" creationId="{1447E97A-ECFE-4204-AE48-088E02946D96}"/>
          </ac:grpSpMkLst>
        </pc:grpChg>
        <pc:grpChg chg="del">
          <ac:chgData name="Mirko Engelpracht" userId="1ce880a0f4f81717" providerId="LiveId" clId="{49D886A4-DAFD-49DC-A0DB-1B4C886760BB}" dt="2020-01-16T09:15:00.066" v="3170" actId="478"/>
          <ac:grpSpMkLst>
            <pc:docMk/>
            <pc:sldMk cId="3012939127" sldId="284"/>
            <ac:grpSpMk id="22" creationId="{C6C0821A-295E-4D82-BFB0-4EF1347B1BB6}"/>
          </ac:grpSpMkLst>
        </pc:grpChg>
        <pc:grpChg chg="del">
          <ac:chgData name="Mirko Engelpracht" userId="1ce880a0f4f81717" providerId="LiveId" clId="{49D886A4-DAFD-49DC-A0DB-1B4C886760BB}" dt="2020-01-16T09:15:00.813" v="3171" actId="478"/>
          <ac:grpSpMkLst>
            <pc:docMk/>
            <pc:sldMk cId="3012939127" sldId="284"/>
            <ac:grpSpMk id="25" creationId="{2FD01C9E-7C8F-4EA3-ADD4-B374D779F0C6}"/>
          </ac:grpSpMkLst>
        </pc:grpChg>
        <pc:grpChg chg="add mod">
          <ac:chgData name="Mirko Engelpracht" userId="1ce880a0f4f81717" providerId="LiveId" clId="{49D886A4-DAFD-49DC-A0DB-1B4C886760BB}" dt="2020-01-16T09:59:10.607" v="5598" actId="1036"/>
          <ac:grpSpMkLst>
            <pc:docMk/>
            <pc:sldMk cId="3012939127" sldId="284"/>
            <ac:grpSpMk id="35" creationId="{B23932E9-7FB5-4F9F-803D-D9A5196315E1}"/>
          </ac:grpSpMkLst>
        </pc:grpChg>
        <pc:grpChg chg="add mod">
          <ac:chgData name="Mirko Engelpracht" userId="1ce880a0f4f81717" providerId="LiveId" clId="{49D886A4-DAFD-49DC-A0DB-1B4C886760BB}" dt="2020-01-16T09:59:10.607" v="5598" actId="1036"/>
          <ac:grpSpMkLst>
            <pc:docMk/>
            <pc:sldMk cId="3012939127" sldId="284"/>
            <ac:grpSpMk id="40" creationId="{6FE69DD3-6EDF-4EA7-9333-E1699674B1F5}"/>
          </ac:grpSpMkLst>
        </pc:grpChg>
        <pc:grpChg chg="add mod">
          <ac:chgData name="Mirko Engelpracht" userId="1ce880a0f4f81717" providerId="LiveId" clId="{49D886A4-DAFD-49DC-A0DB-1B4C886760BB}" dt="2020-01-16T09:59:10.607" v="5598" actId="1036"/>
          <ac:grpSpMkLst>
            <pc:docMk/>
            <pc:sldMk cId="3012939127" sldId="284"/>
            <ac:grpSpMk id="43" creationId="{466D47A4-04DB-4D89-9DF0-F684EA7E8FAD}"/>
          </ac:grpSpMkLst>
        </pc:grpChg>
      </pc:sldChg>
      <pc:sldChg chg="addSp modSp add">
        <pc:chgData name="Mirko Engelpracht" userId="1ce880a0f4f81717" providerId="LiveId" clId="{49D886A4-DAFD-49DC-A0DB-1B4C886760BB}" dt="2020-01-16T11:34:47.933" v="6532" actId="1076"/>
        <pc:sldMkLst>
          <pc:docMk/>
          <pc:sldMk cId="3964244247" sldId="285"/>
        </pc:sldMkLst>
        <pc:spChg chg="mod">
          <ac:chgData name="Mirko Engelpracht" userId="1ce880a0f4f81717" providerId="LiveId" clId="{49D886A4-DAFD-49DC-A0DB-1B4C886760BB}" dt="2020-01-16T09:15:43.576" v="3211" actId="6549"/>
          <ac:spMkLst>
            <pc:docMk/>
            <pc:sldMk cId="3964244247" sldId="285"/>
            <ac:spMk id="2" creationId="{00000000-0000-0000-0000-000000000000}"/>
          </ac:spMkLst>
        </pc:spChg>
        <pc:spChg chg="add mod">
          <ac:chgData name="Mirko Engelpracht" userId="1ce880a0f4f81717" providerId="LiveId" clId="{49D886A4-DAFD-49DC-A0DB-1B4C886760BB}" dt="2020-01-16T11:34:47.933" v="6532" actId="1076"/>
          <ac:spMkLst>
            <pc:docMk/>
            <pc:sldMk cId="3964244247" sldId="285"/>
            <ac:spMk id="3" creationId="{1A1496FA-D883-48AB-B6AC-74FD48EF6FF6}"/>
          </ac:spMkLst>
        </pc:spChg>
        <pc:spChg chg="mod">
          <ac:chgData name="Mirko Engelpracht" userId="1ce880a0f4f81717" providerId="LiveId" clId="{49D886A4-DAFD-49DC-A0DB-1B4C886760BB}" dt="2020-01-16T11:28:42.261" v="6009"/>
          <ac:spMkLst>
            <pc:docMk/>
            <pc:sldMk cId="3964244247" sldId="285"/>
            <ac:spMk id="8" creationId="{4B6837C7-06DE-4B56-974B-2FD6EDD7C66D}"/>
          </ac:spMkLst>
        </pc:spChg>
        <pc:spChg chg="mod">
          <ac:chgData name="Mirko Engelpracht" userId="1ce880a0f4f81717" providerId="LiveId" clId="{49D886A4-DAFD-49DC-A0DB-1B4C886760BB}" dt="2020-01-16T11:32:36.674" v="6354"/>
          <ac:spMkLst>
            <pc:docMk/>
            <pc:sldMk cId="3964244247" sldId="285"/>
            <ac:spMk id="32" creationId="{B0E222F7-1E7E-4604-BF95-09EAD5057CF1}"/>
          </ac:spMkLst>
        </pc:spChg>
        <pc:grpChg chg="add mod">
          <ac:chgData name="Mirko Engelpracht" userId="1ce880a0f4f81717" providerId="LiveId" clId="{49D886A4-DAFD-49DC-A0DB-1B4C886760BB}" dt="2020-01-16T11:28:55.510" v="6039" actId="1036"/>
          <ac:grpSpMkLst>
            <pc:docMk/>
            <pc:sldMk cId="3964244247" sldId="285"/>
            <ac:grpSpMk id="6" creationId="{45AB8D79-14A4-43DD-8702-BF9BB41E5640}"/>
          </ac:grpSpMkLst>
        </pc:grpChg>
      </pc:sldChg>
      <pc:sldChg chg="addSp modSp add">
        <pc:chgData name="Mirko Engelpracht" userId="1ce880a0f4f81717" providerId="LiveId" clId="{49D886A4-DAFD-49DC-A0DB-1B4C886760BB}" dt="2020-01-16T11:43:30.659" v="6893" actId="14100"/>
        <pc:sldMkLst>
          <pc:docMk/>
          <pc:sldMk cId="724556620" sldId="286"/>
        </pc:sldMkLst>
        <pc:spChg chg="mod">
          <ac:chgData name="Mirko Engelpracht" userId="1ce880a0f4f81717" providerId="LiveId" clId="{49D886A4-DAFD-49DC-A0DB-1B4C886760BB}" dt="2020-01-16T09:16:23.330" v="3296" actId="20577"/>
          <ac:spMkLst>
            <pc:docMk/>
            <pc:sldMk cId="724556620" sldId="286"/>
            <ac:spMk id="2" creationId="{00000000-0000-0000-0000-000000000000}"/>
          </ac:spMkLst>
        </pc:spChg>
        <pc:spChg chg="mod">
          <ac:chgData name="Mirko Engelpracht" userId="1ce880a0f4f81717" providerId="LiveId" clId="{49D886A4-DAFD-49DC-A0DB-1B4C886760BB}" dt="2020-01-16T11:41:58.108" v="6737"/>
          <ac:spMkLst>
            <pc:docMk/>
            <pc:sldMk cId="724556620" sldId="286"/>
            <ac:spMk id="8" creationId="{C1709B0D-D014-403F-9132-73966AD65D7B}"/>
          </ac:spMkLst>
        </pc:spChg>
        <pc:spChg chg="mod">
          <ac:chgData name="Mirko Engelpracht" userId="1ce880a0f4f81717" providerId="LiveId" clId="{49D886A4-DAFD-49DC-A0DB-1B4C886760BB}" dt="2020-01-16T11:42:45.001" v="6841" actId="20577"/>
          <ac:spMkLst>
            <pc:docMk/>
            <pc:sldMk cId="724556620" sldId="286"/>
            <ac:spMk id="11" creationId="{4EAA36D9-48D3-4D03-B6D9-6FAC5B310651}"/>
          </ac:spMkLst>
        </pc:spChg>
        <pc:spChg chg="mod">
          <ac:chgData name="Mirko Engelpracht" userId="1ce880a0f4f81717" providerId="LiveId" clId="{49D886A4-DAFD-49DC-A0DB-1B4C886760BB}" dt="2020-01-16T11:43:30.659" v="6893" actId="14100"/>
          <ac:spMkLst>
            <pc:docMk/>
            <pc:sldMk cId="724556620" sldId="286"/>
            <ac:spMk id="32" creationId="{B0E222F7-1E7E-4604-BF95-09EAD5057CF1}"/>
          </ac:spMkLst>
        </pc:spChg>
        <pc:grpChg chg="add mod">
          <ac:chgData name="Mirko Engelpracht" userId="1ce880a0f4f81717" providerId="LiveId" clId="{49D886A4-DAFD-49DC-A0DB-1B4C886760BB}" dt="2020-01-16T11:42:02.370" v="6751" actId="1035"/>
          <ac:grpSpMkLst>
            <pc:docMk/>
            <pc:sldMk cId="724556620" sldId="286"/>
            <ac:grpSpMk id="6" creationId="{90D83427-625D-43F8-A06A-7DE3C28C3548}"/>
          </ac:grpSpMkLst>
        </pc:grpChg>
        <pc:grpChg chg="add mod">
          <ac:chgData name="Mirko Engelpracht" userId="1ce880a0f4f81717" providerId="LiveId" clId="{49D886A4-DAFD-49DC-A0DB-1B4C886760BB}" dt="2020-01-16T11:42:49.309" v="6843"/>
          <ac:grpSpMkLst>
            <pc:docMk/>
            <pc:sldMk cId="724556620" sldId="286"/>
            <ac:grpSpMk id="9" creationId="{507BC9DE-BF20-49AD-BF35-1E9E07A8752E}"/>
          </ac:grpSpMkLst>
        </pc:grpChg>
      </pc:sldChg>
      <pc:sldChg chg="addSp delSp modSp add">
        <pc:chgData name="Mirko Engelpracht" userId="1ce880a0f4f81717" providerId="LiveId" clId="{49D886A4-DAFD-49DC-A0DB-1B4C886760BB}" dt="2020-01-16T12:50:46.967" v="10311" actId="164"/>
        <pc:sldMkLst>
          <pc:docMk/>
          <pc:sldMk cId="1485699554" sldId="287"/>
        </pc:sldMkLst>
        <pc:spChg chg="mod">
          <ac:chgData name="Mirko Engelpracht" userId="1ce880a0f4f81717" providerId="LiveId" clId="{49D886A4-DAFD-49DC-A0DB-1B4C886760BB}" dt="2020-01-16T09:17:15.662" v="3357" actId="20577"/>
          <ac:spMkLst>
            <pc:docMk/>
            <pc:sldMk cId="1485699554" sldId="287"/>
            <ac:spMk id="2" creationId="{00000000-0000-0000-0000-000000000000}"/>
          </ac:spMkLst>
        </pc:spChg>
        <pc:spChg chg="add del mod">
          <ac:chgData name="Mirko Engelpracht" userId="1ce880a0f4f81717" providerId="LiveId" clId="{49D886A4-DAFD-49DC-A0DB-1B4C886760BB}" dt="2020-01-16T11:44:18.359" v="6942" actId="478"/>
          <ac:spMkLst>
            <pc:docMk/>
            <pc:sldMk cId="1485699554" sldId="287"/>
            <ac:spMk id="6" creationId="{2EFF90CE-39D6-4F18-902C-0122762B68D7}"/>
          </ac:spMkLst>
        </pc:spChg>
        <pc:spChg chg="add mod">
          <ac:chgData name="Mirko Engelpracht" userId="1ce880a0f4f81717" providerId="LiveId" clId="{49D886A4-DAFD-49DC-A0DB-1B4C886760BB}" dt="2020-01-16T12:34:28.523" v="9163" actId="164"/>
          <ac:spMkLst>
            <pc:docMk/>
            <pc:sldMk cId="1485699554" sldId="287"/>
            <ac:spMk id="7" creationId="{284A9458-946D-424F-8305-96F8CFBC5919}"/>
          </ac:spMkLst>
        </pc:spChg>
        <pc:spChg chg="add mod">
          <ac:chgData name="Mirko Engelpracht" userId="1ce880a0f4f81717" providerId="LiveId" clId="{49D886A4-DAFD-49DC-A0DB-1B4C886760BB}" dt="2020-01-16T11:49:52.668" v="7403" actId="207"/>
          <ac:spMkLst>
            <pc:docMk/>
            <pc:sldMk cId="1485699554" sldId="287"/>
            <ac:spMk id="10" creationId="{C7502386-F878-4240-BC58-38A032BBD01D}"/>
          </ac:spMkLst>
        </pc:spChg>
        <pc:spChg chg="add mod">
          <ac:chgData name="Mirko Engelpracht" userId="1ce880a0f4f81717" providerId="LiveId" clId="{49D886A4-DAFD-49DC-A0DB-1B4C886760BB}" dt="2020-01-16T11:59:46.263" v="7659" actId="115"/>
          <ac:spMkLst>
            <pc:docMk/>
            <pc:sldMk cId="1485699554" sldId="287"/>
            <ac:spMk id="13" creationId="{A18D216B-0DC3-454B-8D91-DD80A20DB88A}"/>
          </ac:spMkLst>
        </pc:spChg>
        <pc:spChg chg="add mod">
          <ac:chgData name="Mirko Engelpracht" userId="1ce880a0f4f81717" providerId="LiveId" clId="{49D886A4-DAFD-49DC-A0DB-1B4C886760BB}" dt="2020-01-16T11:52:52.319" v="7486" actId="164"/>
          <ac:spMkLst>
            <pc:docMk/>
            <pc:sldMk cId="1485699554" sldId="287"/>
            <ac:spMk id="14" creationId="{7D60D178-3D80-4B5E-8EA1-49359BCF1223}"/>
          </ac:spMkLst>
        </pc:spChg>
        <pc:spChg chg="add mod">
          <ac:chgData name="Mirko Engelpracht" userId="1ce880a0f4f81717" providerId="LiveId" clId="{49D886A4-DAFD-49DC-A0DB-1B4C886760BB}" dt="2020-01-16T12:33:40.924" v="9152" actId="14100"/>
          <ac:spMkLst>
            <pc:docMk/>
            <pc:sldMk cId="1485699554" sldId="287"/>
            <ac:spMk id="15" creationId="{ADE0C51A-7991-402F-9445-1C22FF4D5E1C}"/>
          </ac:spMkLst>
        </pc:spChg>
        <pc:spChg chg="add mod">
          <ac:chgData name="Mirko Engelpracht" userId="1ce880a0f4f81717" providerId="LiveId" clId="{49D886A4-DAFD-49DC-A0DB-1B4C886760BB}" dt="2020-01-16T12:34:28.523" v="9163" actId="164"/>
          <ac:spMkLst>
            <pc:docMk/>
            <pc:sldMk cId="1485699554" sldId="287"/>
            <ac:spMk id="18" creationId="{496CAD3A-1D2E-4770-911F-D5AC5D994565}"/>
          </ac:spMkLst>
        </pc:spChg>
        <pc:spChg chg="add mod">
          <ac:chgData name="Mirko Engelpracht" userId="1ce880a0f4f81717" providerId="LiveId" clId="{49D886A4-DAFD-49DC-A0DB-1B4C886760BB}" dt="2020-01-16T12:05:38.563" v="7774" actId="299"/>
          <ac:spMkLst>
            <pc:docMk/>
            <pc:sldMk cId="1485699554" sldId="287"/>
            <ac:spMk id="19" creationId="{FF8ED16B-5153-43CE-AC5A-80119C788B76}"/>
          </ac:spMkLst>
        </pc:spChg>
        <pc:spChg chg="add mod">
          <ac:chgData name="Mirko Engelpracht" userId="1ce880a0f4f81717" providerId="LiveId" clId="{49D886A4-DAFD-49DC-A0DB-1B4C886760BB}" dt="2020-01-16T12:05:38.569" v="7779" actId="299"/>
          <ac:spMkLst>
            <pc:docMk/>
            <pc:sldMk cId="1485699554" sldId="287"/>
            <ac:spMk id="20" creationId="{15C59C7A-E038-47C9-A50F-BCA357AA82BB}"/>
          </ac:spMkLst>
        </pc:spChg>
        <pc:spChg chg="add mod">
          <ac:chgData name="Mirko Engelpracht" userId="1ce880a0f4f81717" providerId="LiveId" clId="{49D886A4-DAFD-49DC-A0DB-1B4C886760BB}" dt="2020-01-16T12:05:39.196" v="7786" actId="299"/>
          <ac:spMkLst>
            <pc:docMk/>
            <pc:sldMk cId="1485699554" sldId="287"/>
            <ac:spMk id="21" creationId="{AFB883EC-CB26-4DCD-87E3-E4A691E6BC8E}"/>
          </ac:spMkLst>
        </pc:spChg>
        <pc:spChg chg="add mod">
          <ac:chgData name="Mirko Engelpracht" userId="1ce880a0f4f81717" providerId="LiveId" clId="{49D886A4-DAFD-49DC-A0DB-1B4C886760BB}" dt="2020-01-16T12:05:39.228" v="7795" actId="299"/>
          <ac:spMkLst>
            <pc:docMk/>
            <pc:sldMk cId="1485699554" sldId="287"/>
            <ac:spMk id="22" creationId="{FB745699-117D-4315-94B2-1063AF9754AC}"/>
          </ac:spMkLst>
        </pc:spChg>
        <pc:spChg chg="add del mod">
          <ac:chgData name="Mirko Engelpracht" userId="1ce880a0f4f81717" providerId="LiveId" clId="{49D886A4-DAFD-49DC-A0DB-1B4C886760BB}" dt="2020-01-16T12:09:06.555" v="7942" actId="478"/>
          <ac:spMkLst>
            <pc:docMk/>
            <pc:sldMk cId="1485699554" sldId="287"/>
            <ac:spMk id="30" creationId="{6054C342-6582-4FE2-8053-DF48405858EF}"/>
          </ac:spMkLst>
        </pc:spChg>
        <pc:spChg chg="del">
          <ac:chgData name="Mirko Engelpracht" userId="1ce880a0f4f81717" providerId="LiveId" clId="{49D886A4-DAFD-49DC-A0DB-1B4C886760BB}" dt="2020-01-16T11:43:39.056" v="6894" actId="478"/>
          <ac:spMkLst>
            <pc:docMk/>
            <pc:sldMk cId="1485699554" sldId="287"/>
            <ac:spMk id="32" creationId="{B0E222F7-1E7E-4604-BF95-09EAD5057CF1}"/>
          </ac:spMkLst>
        </pc:spChg>
        <pc:spChg chg="add del mod">
          <ac:chgData name="Mirko Engelpracht" userId="1ce880a0f4f81717" providerId="LiveId" clId="{49D886A4-DAFD-49DC-A0DB-1B4C886760BB}" dt="2020-01-16T12:09:19.223" v="7950" actId="478"/>
          <ac:spMkLst>
            <pc:docMk/>
            <pc:sldMk cId="1485699554" sldId="287"/>
            <ac:spMk id="33" creationId="{1A93D636-50DA-4DF1-A59C-25B5617F29D1}"/>
          </ac:spMkLst>
        </pc:spChg>
        <pc:spChg chg="mod">
          <ac:chgData name="Mirko Engelpracht" userId="1ce880a0f4f81717" providerId="LiveId" clId="{49D886A4-DAFD-49DC-A0DB-1B4C886760BB}" dt="2020-01-16T12:32:23.167" v="9110" actId="20577"/>
          <ac:spMkLst>
            <pc:docMk/>
            <pc:sldMk cId="1485699554" sldId="287"/>
            <ac:spMk id="33" creationId="{62DD6AB7-45DC-4776-975D-542F6BA8AA9F}"/>
          </ac:spMkLst>
        </pc:spChg>
        <pc:spChg chg="add mod">
          <ac:chgData name="Mirko Engelpracht" userId="1ce880a0f4f81717" providerId="LiveId" clId="{49D886A4-DAFD-49DC-A0DB-1B4C886760BB}" dt="2020-01-16T12:50:32.829" v="10310" actId="164"/>
          <ac:spMkLst>
            <pc:docMk/>
            <pc:sldMk cId="1485699554" sldId="287"/>
            <ac:spMk id="34" creationId="{78B70001-ECFD-4B73-8A18-8FA54FD2A010}"/>
          </ac:spMkLst>
        </pc:spChg>
        <pc:spChg chg="add del mod">
          <ac:chgData name="Mirko Engelpracht" userId="1ce880a0f4f81717" providerId="LiveId" clId="{49D886A4-DAFD-49DC-A0DB-1B4C886760BB}" dt="2020-01-16T12:10:17.239" v="7974" actId="478"/>
          <ac:spMkLst>
            <pc:docMk/>
            <pc:sldMk cId="1485699554" sldId="287"/>
            <ac:spMk id="35" creationId="{00E14AFE-1ED2-438B-A21D-D7C3425C76E0}"/>
          </ac:spMkLst>
        </pc:spChg>
        <pc:spChg chg="add del mod">
          <ac:chgData name="Mirko Engelpracht" userId="1ce880a0f4f81717" providerId="LiveId" clId="{49D886A4-DAFD-49DC-A0DB-1B4C886760BB}" dt="2020-01-16T12:10:16.088" v="7973" actId="478"/>
          <ac:spMkLst>
            <pc:docMk/>
            <pc:sldMk cId="1485699554" sldId="287"/>
            <ac:spMk id="36" creationId="{7509900A-20CB-4725-A856-4DD3D02EB6B1}"/>
          </ac:spMkLst>
        </pc:spChg>
        <pc:spChg chg="mod">
          <ac:chgData name="Mirko Engelpracht" userId="1ce880a0f4f81717" providerId="LiveId" clId="{49D886A4-DAFD-49DC-A0DB-1B4C886760BB}" dt="2020-01-16T12:33:46.304" v="9154" actId="20577"/>
          <ac:spMkLst>
            <pc:docMk/>
            <pc:sldMk cId="1485699554" sldId="287"/>
            <ac:spMk id="36" creationId="{D8D770FC-61AF-4D46-BFAF-DEE241227489}"/>
          </ac:spMkLst>
        </pc:spChg>
        <pc:spChg chg="mod">
          <ac:chgData name="Mirko Engelpracht" userId="1ce880a0f4f81717" providerId="LiveId" clId="{49D886A4-DAFD-49DC-A0DB-1B4C886760BB}" dt="2020-01-16T12:33:44.316" v="9153" actId="14100"/>
          <ac:spMkLst>
            <pc:docMk/>
            <pc:sldMk cId="1485699554" sldId="287"/>
            <ac:spMk id="37" creationId="{074DDCD9-5149-40AE-BC87-4640739FED28}"/>
          </ac:spMkLst>
        </pc:spChg>
        <pc:spChg chg="add del mod">
          <ac:chgData name="Mirko Engelpracht" userId="1ce880a0f4f81717" providerId="LiveId" clId="{49D886A4-DAFD-49DC-A0DB-1B4C886760BB}" dt="2020-01-16T12:10:00.882" v="7966" actId="478"/>
          <ac:spMkLst>
            <pc:docMk/>
            <pc:sldMk cId="1485699554" sldId="287"/>
            <ac:spMk id="37" creationId="{267D35E6-2267-41E0-A684-FF6D9C3451E5}"/>
          </ac:spMkLst>
        </pc:spChg>
        <pc:spChg chg="add del mod">
          <ac:chgData name="Mirko Engelpracht" userId="1ce880a0f4f81717" providerId="LiveId" clId="{49D886A4-DAFD-49DC-A0DB-1B4C886760BB}" dt="2020-01-16T12:34:05.507" v="9157" actId="478"/>
          <ac:spMkLst>
            <pc:docMk/>
            <pc:sldMk cId="1485699554" sldId="287"/>
            <ac:spMk id="38" creationId="{AAC9A72D-259B-49E6-963A-510089F4A7D7}"/>
          </ac:spMkLst>
        </pc:spChg>
        <pc:spChg chg="add mod">
          <ac:chgData name="Mirko Engelpracht" userId="1ce880a0f4f81717" providerId="LiveId" clId="{49D886A4-DAFD-49DC-A0DB-1B4C886760BB}" dt="2020-01-16T12:34:28.523" v="9163" actId="164"/>
          <ac:spMkLst>
            <pc:docMk/>
            <pc:sldMk cId="1485699554" sldId="287"/>
            <ac:spMk id="40" creationId="{5CF65B70-1925-4233-8678-CCA565ECD4DB}"/>
          </ac:spMkLst>
        </pc:spChg>
        <pc:spChg chg="add mod">
          <ac:chgData name="Mirko Engelpracht" userId="1ce880a0f4f81717" providerId="LiveId" clId="{49D886A4-DAFD-49DC-A0DB-1B4C886760BB}" dt="2020-01-16T12:34:28.523" v="9163" actId="164"/>
          <ac:spMkLst>
            <pc:docMk/>
            <pc:sldMk cId="1485699554" sldId="287"/>
            <ac:spMk id="41" creationId="{F490C4F1-8D64-4C67-BED8-20D108C4E0BC}"/>
          </ac:spMkLst>
        </pc:spChg>
        <pc:spChg chg="add mod">
          <ac:chgData name="Mirko Engelpracht" userId="1ce880a0f4f81717" providerId="LiveId" clId="{49D886A4-DAFD-49DC-A0DB-1B4C886760BB}" dt="2020-01-16T12:21:18.034" v="8433" actId="571"/>
          <ac:spMkLst>
            <pc:docMk/>
            <pc:sldMk cId="1485699554" sldId="287"/>
            <ac:spMk id="42" creationId="{9BF7308F-BDE8-44D7-B2CB-CA7808B32D27}"/>
          </ac:spMkLst>
        </pc:spChg>
        <pc:spChg chg="mod">
          <ac:chgData name="Mirko Engelpracht" userId="1ce880a0f4f81717" providerId="LiveId" clId="{49D886A4-DAFD-49DC-A0DB-1B4C886760BB}" dt="2020-01-16T12:23:01.626" v="8527" actId="242"/>
          <ac:spMkLst>
            <pc:docMk/>
            <pc:sldMk cId="1485699554" sldId="287"/>
            <ac:spMk id="44" creationId="{CB6C3762-ADB1-44DF-BA1D-18C77BC09A37}"/>
          </ac:spMkLst>
        </pc:spChg>
        <pc:spChg chg="add mod">
          <ac:chgData name="Mirko Engelpracht" userId="1ce880a0f4f81717" providerId="LiveId" clId="{49D886A4-DAFD-49DC-A0DB-1B4C886760BB}" dt="2020-01-16T12:50:46.967" v="10311" actId="164"/>
          <ac:spMkLst>
            <pc:docMk/>
            <pc:sldMk cId="1485699554" sldId="287"/>
            <ac:spMk id="45" creationId="{31349E55-09C9-4BA8-A147-3774119CA587}"/>
          </ac:spMkLst>
        </pc:spChg>
        <pc:spChg chg="del">
          <ac:chgData name="Mirko Engelpracht" userId="1ce880a0f4f81717" providerId="LiveId" clId="{49D886A4-DAFD-49DC-A0DB-1B4C886760BB}" dt="2020-01-16T12:22:10.747" v="8475" actId="478"/>
          <ac:spMkLst>
            <pc:docMk/>
            <pc:sldMk cId="1485699554" sldId="287"/>
            <ac:spMk id="45" creationId="{A5634FDE-E110-4F78-AE94-AB32A45B5186}"/>
          </ac:spMkLst>
        </pc:spChg>
        <pc:spChg chg="mod">
          <ac:chgData name="Mirko Engelpracht" userId="1ce880a0f4f81717" providerId="LiveId" clId="{49D886A4-DAFD-49DC-A0DB-1B4C886760BB}" dt="2020-01-16T12:23:01.626" v="8527" actId="242"/>
          <ac:spMkLst>
            <pc:docMk/>
            <pc:sldMk cId="1485699554" sldId="287"/>
            <ac:spMk id="46" creationId="{B519B565-D15C-4465-8C10-0BF42C4DD3D2}"/>
          </ac:spMkLst>
        </pc:spChg>
        <pc:spChg chg="add mod">
          <ac:chgData name="Mirko Engelpracht" userId="1ce880a0f4f81717" providerId="LiveId" clId="{49D886A4-DAFD-49DC-A0DB-1B4C886760BB}" dt="2020-01-16T12:50:32.829" v="10310" actId="164"/>
          <ac:spMkLst>
            <pc:docMk/>
            <pc:sldMk cId="1485699554" sldId="287"/>
            <ac:spMk id="47" creationId="{76104EDB-269E-4F0E-8093-7C2960D317C3}"/>
          </ac:spMkLst>
        </pc:spChg>
        <pc:spChg chg="del">
          <ac:chgData name="Mirko Engelpracht" userId="1ce880a0f4f81717" providerId="LiveId" clId="{49D886A4-DAFD-49DC-A0DB-1B4C886760BB}" dt="2020-01-16T12:22:28.683" v="8510" actId="478"/>
          <ac:spMkLst>
            <pc:docMk/>
            <pc:sldMk cId="1485699554" sldId="287"/>
            <ac:spMk id="47" creationId="{B7864B1C-1330-4EE1-A2B9-9E7C7C457B5D}"/>
          </ac:spMkLst>
        </pc:spChg>
        <pc:spChg chg="mod">
          <ac:chgData name="Mirko Engelpracht" userId="1ce880a0f4f81717" providerId="LiveId" clId="{49D886A4-DAFD-49DC-A0DB-1B4C886760BB}" dt="2020-01-16T12:23:30.901" v="8561" actId="20577"/>
          <ac:spMkLst>
            <pc:docMk/>
            <pc:sldMk cId="1485699554" sldId="287"/>
            <ac:spMk id="50" creationId="{23AEA321-C66F-429B-B99B-11AD2FC5D598}"/>
          </ac:spMkLst>
        </pc:spChg>
        <pc:spChg chg="add mod">
          <ac:chgData name="Mirko Engelpracht" userId="1ce880a0f4f81717" providerId="LiveId" clId="{49D886A4-DAFD-49DC-A0DB-1B4C886760BB}" dt="2020-01-16T12:50:32.829" v="10310" actId="164"/>
          <ac:spMkLst>
            <pc:docMk/>
            <pc:sldMk cId="1485699554" sldId="287"/>
            <ac:spMk id="52" creationId="{9FAD333B-6D7C-48FB-97FE-217E75440DA3}"/>
          </ac:spMkLst>
        </pc:spChg>
        <pc:spChg chg="add mod">
          <ac:chgData name="Mirko Engelpracht" userId="1ce880a0f4f81717" providerId="LiveId" clId="{49D886A4-DAFD-49DC-A0DB-1B4C886760BB}" dt="2020-01-16T12:34:28.523" v="9163" actId="164"/>
          <ac:spMkLst>
            <pc:docMk/>
            <pc:sldMk cId="1485699554" sldId="287"/>
            <ac:spMk id="53" creationId="{211C0105-A695-4FAB-907F-388B0D5EB055}"/>
          </ac:spMkLst>
        </pc:spChg>
        <pc:spChg chg="add mod">
          <ac:chgData name="Mirko Engelpracht" userId="1ce880a0f4f81717" providerId="LiveId" clId="{49D886A4-DAFD-49DC-A0DB-1B4C886760BB}" dt="2020-01-16T12:50:46.967" v="10311" actId="164"/>
          <ac:spMkLst>
            <pc:docMk/>
            <pc:sldMk cId="1485699554" sldId="287"/>
            <ac:spMk id="55" creationId="{D0DB2851-0DAB-42F0-9455-211C5D43EA9D}"/>
          </ac:spMkLst>
        </pc:spChg>
        <pc:spChg chg="add mod">
          <ac:chgData name="Mirko Engelpracht" userId="1ce880a0f4f81717" providerId="LiveId" clId="{49D886A4-DAFD-49DC-A0DB-1B4C886760BB}" dt="2020-01-16T12:50:24.751" v="10309" actId="164"/>
          <ac:spMkLst>
            <pc:docMk/>
            <pc:sldMk cId="1485699554" sldId="287"/>
            <ac:spMk id="57" creationId="{21626C69-470B-4A2C-B94D-77A4A7873A8D}"/>
          </ac:spMkLst>
        </pc:spChg>
        <pc:spChg chg="mod">
          <ac:chgData name="Mirko Engelpracht" userId="1ce880a0f4f81717" providerId="LiveId" clId="{49D886A4-DAFD-49DC-A0DB-1B4C886760BB}" dt="2020-01-16T12:48:00.070" v="10153" actId="20577"/>
          <ac:spMkLst>
            <pc:docMk/>
            <pc:sldMk cId="1485699554" sldId="287"/>
            <ac:spMk id="60" creationId="{2EAC4C57-A73B-479F-AE0D-18FAEC4A4BFE}"/>
          </ac:spMkLst>
        </pc:spChg>
        <pc:spChg chg="mod">
          <ac:chgData name="Mirko Engelpracht" userId="1ce880a0f4f81717" providerId="LiveId" clId="{49D886A4-DAFD-49DC-A0DB-1B4C886760BB}" dt="2020-01-16T12:48:19.860" v="10157" actId="14100"/>
          <ac:spMkLst>
            <pc:docMk/>
            <pc:sldMk cId="1485699554" sldId="287"/>
            <ac:spMk id="61" creationId="{AB60F875-FB85-4AFE-9B98-FE79BA68D295}"/>
          </ac:spMkLst>
        </pc:spChg>
        <pc:spChg chg="add mod">
          <ac:chgData name="Mirko Engelpracht" userId="1ce880a0f4f81717" providerId="LiveId" clId="{49D886A4-DAFD-49DC-A0DB-1B4C886760BB}" dt="2020-01-16T12:50:24.751" v="10309" actId="164"/>
          <ac:spMkLst>
            <pc:docMk/>
            <pc:sldMk cId="1485699554" sldId="287"/>
            <ac:spMk id="65" creationId="{374CEE8F-F549-4B44-A0F4-211293E8B736}"/>
          </ac:spMkLst>
        </pc:spChg>
        <pc:spChg chg="add mod">
          <ac:chgData name="Mirko Engelpracht" userId="1ce880a0f4f81717" providerId="LiveId" clId="{49D886A4-DAFD-49DC-A0DB-1B4C886760BB}" dt="2020-01-16T12:50:24.751" v="10309" actId="164"/>
          <ac:spMkLst>
            <pc:docMk/>
            <pc:sldMk cId="1485699554" sldId="287"/>
            <ac:spMk id="66" creationId="{6691166E-EF60-4DFF-BFBB-A1919C8BB84E}"/>
          </ac:spMkLst>
        </pc:spChg>
        <pc:grpChg chg="add mod">
          <ac:chgData name="Mirko Engelpracht" userId="1ce880a0f4f81717" providerId="LiveId" clId="{49D886A4-DAFD-49DC-A0DB-1B4C886760BB}" dt="2020-01-16T12:50:46.967" v="10311" actId="164"/>
          <ac:grpSpMkLst>
            <pc:docMk/>
            <pc:sldMk cId="1485699554" sldId="287"/>
            <ac:grpSpMk id="3" creationId="{F921E3B8-9EC4-482D-AD27-9993816D292B}"/>
          </ac:grpSpMkLst>
        </pc:grpChg>
        <pc:grpChg chg="add mod">
          <ac:chgData name="Mirko Engelpracht" userId="1ce880a0f4f81717" providerId="LiveId" clId="{49D886A4-DAFD-49DC-A0DB-1B4C886760BB}" dt="2020-01-16T12:50:46.967" v="10311" actId="164"/>
          <ac:grpSpMkLst>
            <pc:docMk/>
            <pc:sldMk cId="1485699554" sldId="287"/>
            <ac:grpSpMk id="12" creationId="{DF54EE93-6814-4537-97A2-CA531AD9371B}"/>
          </ac:grpSpMkLst>
        </pc:grpChg>
        <pc:grpChg chg="add mod">
          <ac:chgData name="Mirko Engelpracht" userId="1ce880a0f4f81717" providerId="LiveId" clId="{49D886A4-DAFD-49DC-A0DB-1B4C886760BB}" dt="2020-01-16T12:34:28.523" v="9163" actId="164"/>
          <ac:grpSpMkLst>
            <pc:docMk/>
            <pc:sldMk cId="1485699554" sldId="287"/>
            <ac:grpSpMk id="16" creationId="{8E3B898D-85A3-488C-80A8-CA9990892DFB}"/>
          </ac:grpSpMkLst>
        </pc:grpChg>
        <pc:grpChg chg="add mod">
          <ac:chgData name="Mirko Engelpracht" userId="1ce880a0f4f81717" providerId="LiveId" clId="{49D886A4-DAFD-49DC-A0DB-1B4C886760BB}" dt="2020-01-16T12:34:28.523" v="9163" actId="164"/>
          <ac:grpSpMkLst>
            <pc:docMk/>
            <pc:sldMk cId="1485699554" sldId="287"/>
            <ac:grpSpMk id="17" creationId="{C1A2573D-1344-43DC-B4D1-6A2D798DD795}"/>
          </ac:grpSpMkLst>
        </pc:grpChg>
        <pc:grpChg chg="add mod">
          <ac:chgData name="Mirko Engelpracht" userId="1ce880a0f4f81717" providerId="LiveId" clId="{49D886A4-DAFD-49DC-A0DB-1B4C886760BB}" dt="2020-01-16T12:50:46.967" v="10311" actId="164"/>
          <ac:grpSpMkLst>
            <pc:docMk/>
            <pc:sldMk cId="1485699554" sldId="287"/>
            <ac:grpSpMk id="31" creationId="{F51F058D-3DFD-4D47-A0D3-67A04CB52C20}"/>
          </ac:grpSpMkLst>
        </pc:grpChg>
        <pc:grpChg chg="add mod">
          <ac:chgData name="Mirko Engelpracht" userId="1ce880a0f4f81717" providerId="LiveId" clId="{49D886A4-DAFD-49DC-A0DB-1B4C886760BB}" dt="2020-01-16T12:50:32.829" v="10310" actId="164"/>
          <ac:grpSpMkLst>
            <pc:docMk/>
            <pc:sldMk cId="1485699554" sldId="287"/>
            <ac:grpSpMk id="35" creationId="{A2868FE5-6496-401D-8EBC-61BE2DB11E94}"/>
          </ac:grpSpMkLst>
        </pc:grpChg>
        <pc:grpChg chg="add mod">
          <ac:chgData name="Mirko Engelpracht" userId="1ce880a0f4f81717" providerId="LiveId" clId="{49D886A4-DAFD-49DC-A0DB-1B4C886760BB}" dt="2020-01-16T12:34:28.523" v="9163" actId="164"/>
          <ac:grpSpMkLst>
            <pc:docMk/>
            <pc:sldMk cId="1485699554" sldId="287"/>
            <ac:grpSpMk id="43" creationId="{027551BE-CFAA-45FF-AE89-EB4F07A53257}"/>
          </ac:grpSpMkLst>
        </pc:grpChg>
        <pc:grpChg chg="add mod">
          <ac:chgData name="Mirko Engelpracht" userId="1ce880a0f4f81717" providerId="LiveId" clId="{49D886A4-DAFD-49DC-A0DB-1B4C886760BB}" dt="2020-01-16T12:34:28.523" v="9163" actId="164"/>
          <ac:grpSpMkLst>
            <pc:docMk/>
            <pc:sldMk cId="1485699554" sldId="287"/>
            <ac:grpSpMk id="48" creationId="{3F3206B6-A059-4350-AA9A-6E7066CD6B2F}"/>
          </ac:grpSpMkLst>
        </pc:grpChg>
        <pc:grpChg chg="add mod">
          <ac:chgData name="Mirko Engelpracht" userId="1ce880a0f4f81717" providerId="LiveId" clId="{49D886A4-DAFD-49DC-A0DB-1B4C886760BB}" dt="2020-01-16T12:50:24.751" v="10309" actId="164"/>
          <ac:grpSpMkLst>
            <pc:docMk/>
            <pc:sldMk cId="1485699554" sldId="287"/>
            <ac:grpSpMk id="59" creationId="{DAEEB4AB-4582-4B40-A83B-4BC444378C65}"/>
          </ac:grpSpMkLst>
        </pc:grpChg>
        <pc:grpChg chg="add mod">
          <ac:chgData name="Mirko Engelpracht" userId="1ce880a0f4f81717" providerId="LiveId" clId="{49D886A4-DAFD-49DC-A0DB-1B4C886760BB}" dt="2020-01-16T12:50:46.967" v="10311" actId="164"/>
          <ac:grpSpMkLst>
            <pc:docMk/>
            <pc:sldMk cId="1485699554" sldId="287"/>
            <ac:grpSpMk id="68" creationId="{2D1B2403-A160-48DC-A1B5-B066E7C6A1AD}"/>
          </ac:grpSpMkLst>
        </pc:grpChg>
        <pc:grpChg chg="add mod">
          <ac:chgData name="Mirko Engelpracht" userId="1ce880a0f4f81717" providerId="LiveId" clId="{49D886A4-DAFD-49DC-A0DB-1B4C886760BB}" dt="2020-01-16T12:50:46.967" v="10311" actId="164"/>
          <ac:grpSpMkLst>
            <pc:docMk/>
            <pc:sldMk cId="1485699554" sldId="287"/>
            <ac:grpSpMk id="69" creationId="{2AA69DCB-0C7F-4079-A5D2-F05E222AA2B6}"/>
          </ac:grpSpMkLst>
        </pc:grpChg>
        <pc:grpChg chg="add mod">
          <ac:chgData name="Mirko Engelpracht" userId="1ce880a0f4f81717" providerId="LiveId" clId="{49D886A4-DAFD-49DC-A0DB-1B4C886760BB}" dt="2020-01-16T12:50:46.967" v="10311" actId="164"/>
          <ac:grpSpMkLst>
            <pc:docMk/>
            <pc:sldMk cId="1485699554" sldId="287"/>
            <ac:grpSpMk id="70" creationId="{85819916-62C4-48C3-BEB2-3595B21B284D}"/>
          </ac:grpSpMkLst>
        </pc:grpChg>
        <pc:cxnChg chg="add mod">
          <ac:chgData name="Mirko Engelpracht" userId="1ce880a0f4f81717" providerId="LiveId" clId="{49D886A4-DAFD-49DC-A0DB-1B4C886760BB}" dt="2020-01-16T12:50:46.967" v="10311" actId="164"/>
          <ac:cxnSpMkLst>
            <pc:docMk/>
            <pc:sldMk cId="1485699554" sldId="287"/>
            <ac:cxnSpMk id="8" creationId="{98F13D0C-B581-4CE4-8427-653DDFA67DC9}"/>
          </ac:cxnSpMkLst>
        </pc:cxnChg>
        <pc:cxnChg chg="add mod">
          <ac:chgData name="Mirko Engelpracht" userId="1ce880a0f4f81717" providerId="LiveId" clId="{49D886A4-DAFD-49DC-A0DB-1B4C886760BB}" dt="2020-01-16T11:49:44.443" v="7401" actId="164"/>
          <ac:cxnSpMkLst>
            <pc:docMk/>
            <pc:sldMk cId="1485699554" sldId="287"/>
            <ac:cxnSpMk id="9" creationId="{3DA9AE92-F005-4588-AD27-D617806C3A74}"/>
          </ac:cxnSpMkLst>
        </pc:cxnChg>
        <pc:cxnChg chg="add mod">
          <ac:chgData name="Mirko Engelpracht" userId="1ce880a0f4f81717" providerId="LiveId" clId="{49D886A4-DAFD-49DC-A0DB-1B4C886760BB}" dt="2020-01-16T12:34:28.523" v="9163" actId="164"/>
          <ac:cxnSpMkLst>
            <pc:docMk/>
            <pc:sldMk cId="1485699554" sldId="287"/>
            <ac:cxnSpMk id="24" creationId="{28B1D431-181D-466A-9DC0-DEDF3B8F4DD9}"/>
          </ac:cxnSpMkLst>
        </pc:cxnChg>
        <pc:cxnChg chg="add del mod">
          <ac:chgData name="Mirko Engelpracht" userId="1ce880a0f4f81717" providerId="LiveId" clId="{49D886A4-DAFD-49DC-A0DB-1B4C886760BB}" dt="2020-01-16T12:10:35.185" v="7975" actId="478"/>
          <ac:cxnSpMkLst>
            <pc:docMk/>
            <pc:sldMk cId="1485699554" sldId="287"/>
            <ac:cxnSpMk id="27" creationId="{3557C319-772B-4339-B582-A3B0A57B4F2A}"/>
          </ac:cxnSpMkLst>
        </pc:cxnChg>
        <pc:cxnChg chg="add mod">
          <ac:chgData name="Mirko Engelpracht" userId="1ce880a0f4f81717" providerId="LiveId" clId="{49D886A4-DAFD-49DC-A0DB-1B4C886760BB}" dt="2020-01-16T12:34:28.523" v="9163" actId="164"/>
          <ac:cxnSpMkLst>
            <pc:docMk/>
            <pc:sldMk cId="1485699554" sldId="287"/>
            <ac:cxnSpMk id="29" creationId="{0A0268AC-51E1-4616-9B5E-A281620F156C}"/>
          </ac:cxnSpMkLst>
        </pc:cxnChg>
        <pc:cxnChg chg="add mod">
          <ac:chgData name="Mirko Engelpracht" userId="1ce880a0f4f81717" providerId="LiveId" clId="{49D886A4-DAFD-49DC-A0DB-1B4C886760BB}" dt="2020-01-16T12:34:28.523" v="9163" actId="164"/>
          <ac:cxnSpMkLst>
            <pc:docMk/>
            <pc:sldMk cId="1485699554" sldId="287"/>
            <ac:cxnSpMk id="51" creationId="{ED4E16F5-5BA0-45B2-A738-2212C0D62714}"/>
          </ac:cxnSpMkLst>
        </pc:cxnChg>
        <pc:cxnChg chg="add mod">
          <ac:chgData name="Mirko Engelpracht" userId="1ce880a0f4f81717" providerId="LiveId" clId="{49D886A4-DAFD-49DC-A0DB-1B4C886760BB}" dt="2020-01-16T12:50:46.967" v="10311" actId="164"/>
          <ac:cxnSpMkLst>
            <pc:docMk/>
            <pc:sldMk cId="1485699554" sldId="287"/>
            <ac:cxnSpMk id="54" creationId="{AE56B51A-A358-45C9-B883-A787F5DDB275}"/>
          </ac:cxnSpMkLst>
        </pc:cxnChg>
        <pc:cxnChg chg="add mod">
          <ac:chgData name="Mirko Engelpracht" userId="1ce880a0f4f81717" providerId="LiveId" clId="{49D886A4-DAFD-49DC-A0DB-1B4C886760BB}" dt="2020-01-16T12:50:46.967" v="10311" actId="164"/>
          <ac:cxnSpMkLst>
            <pc:docMk/>
            <pc:sldMk cId="1485699554" sldId="287"/>
            <ac:cxnSpMk id="56" creationId="{D19507EA-E3B0-4DDF-A14A-F80BCC7AD18C}"/>
          </ac:cxnSpMkLst>
        </pc:cxnChg>
        <pc:cxnChg chg="add mod">
          <ac:chgData name="Mirko Engelpracht" userId="1ce880a0f4f81717" providerId="LiveId" clId="{49D886A4-DAFD-49DC-A0DB-1B4C886760BB}" dt="2020-01-16T12:50:46.967" v="10311" actId="164"/>
          <ac:cxnSpMkLst>
            <pc:docMk/>
            <pc:sldMk cId="1485699554" sldId="287"/>
            <ac:cxnSpMk id="62" creationId="{DE642426-DAF6-45B3-BC92-FADFC8D440F7}"/>
          </ac:cxnSpMkLst>
        </pc:cxnChg>
      </pc:sldChg>
      <pc:sldChg chg="addSp delSp modSp add">
        <pc:chgData name="Mirko Engelpracht" userId="1ce880a0f4f81717" providerId="LiveId" clId="{49D886A4-DAFD-49DC-A0DB-1B4C886760BB}" dt="2020-01-16T09:47:25.921" v="4465"/>
        <pc:sldMkLst>
          <pc:docMk/>
          <pc:sldMk cId="678312968" sldId="288"/>
        </pc:sldMkLst>
        <pc:spChg chg="mod">
          <ac:chgData name="Mirko Engelpracht" userId="1ce880a0f4f81717" providerId="LiveId" clId="{49D886A4-DAFD-49DC-A0DB-1B4C886760BB}" dt="2020-01-16T09:24:54.504" v="3550" actId="20577"/>
          <ac:spMkLst>
            <pc:docMk/>
            <pc:sldMk cId="678312968" sldId="288"/>
            <ac:spMk id="2" creationId="{00000000-0000-0000-0000-000000000000}"/>
          </ac:spMkLst>
        </pc:spChg>
        <pc:spChg chg="add del mod">
          <ac:chgData name="Mirko Engelpracht" userId="1ce880a0f4f81717" providerId="LiveId" clId="{49D886A4-DAFD-49DC-A0DB-1B4C886760BB}" dt="2020-01-16T09:33:33.630" v="3884" actId="478"/>
          <ac:spMkLst>
            <pc:docMk/>
            <pc:sldMk cId="678312968" sldId="288"/>
            <ac:spMk id="7" creationId="{89E59B98-6F68-482F-B991-B73ACB425C68}"/>
          </ac:spMkLst>
        </pc:spChg>
        <pc:spChg chg="mod">
          <ac:chgData name="Mirko Engelpracht" userId="1ce880a0f4f81717" providerId="LiveId" clId="{49D886A4-DAFD-49DC-A0DB-1B4C886760BB}" dt="2020-01-16T09:47:25.921" v="4465"/>
          <ac:spMkLst>
            <pc:docMk/>
            <pc:sldMk cId="678312968" sldId="288"/>
            <ac:spMk id="10" creationId="{34C8960D-CC48-45C3-A3E6-4D4DD406B97E}"/>
          </ac:spMkLst>
        </pc:spChg>
        <pc:spChg chg="mod">
          <ac:chgData name="Mirko Engelpracht" userId="1ce880a0f4f81717" providerId="LiveId" clId="{49D886A4-DAFD-49DC-A0DB-1B4C886760BB}" dt="2020-01-16T09:47:20.734" v="4463" actId="20577"/>
          <ac:spMkLst>
            <pc:docMk/>
            <pc:sldMk cId="678312968" sldId="288"/>
            <ac:spMk id="11" creationId="{BAA7E099-FB96-4421-86E8-9E579F632531}"/>
          </ac:spMkLst>
        </pc:spChg>
        <pc:spChg chg="del">
          <ac:chgData name="Mirko Engelpracht" userId="1ce880a0f4f81717" providerId="LiveId" clId="{49D886A4-DAFD-49DC-A0DB-1B4C886760BB}" dt="2020-01-16T09:33:30.950" v="3883" actId="478"/>
          <ac:spMkLst>
            <pc:docMk/>
            <pc:sldMk cId="678312968" sldId="288"/>
            <ac:spMk id="32" creationId="{B0E222F7-1E7E-4604-BF95-09EAD5057CF1}"/>
          </ac:spMkLst>
        </pc:spChg>
        <pc:grpChg chg="add mod">
          <ac:chgData name="Mirko Engelpracht" userId="1ce880a0f4f81717" providerId="LiveId" clId="{49D886A4-DAFD-49DC-A0DB-1B4C886760BB}" dt="2020-01-16T09:47:25.921" v="4465"/>
          <ac:grpSpMkLst>
            <pc:docMk/>
            <pc:sldMk cId="678312968" sldId="288"/>
            <ac:grpSpMk id="9" creationId="{1184C7AE-1479-4697-B874-3370C17FC3A0}"/>
          </ac:grpSpMkLst>
        </pc:grpChg>
        <pc:grpChg chg="add del mod">
          <ac:chgData name="Mirko Engelpracht" userId="1ce880a0f4f81717" providerId="LiveId" clId="{49D886A4-DAFD-49DC-A0DB-1B4C886760BB}" dt="2020-01-16T09:46:37.296" v="4428" actId="478"/>
          <ac:grpSpMkLst>
            <pc:docMk/>
            <pc:sldMk cId="678312968" sldId="288"/>
            <ac:grpSpMk id="12" creationId="{03425C46-8B55-4308-9105-92F1D6CED832}"/>
          </ac:grpSpMkLst>
        </pc:grpChg>
        <pc:graphicFrameChg chg="add mod">
          <ac:chgData name="Mirko Engelpracht" userId="1ce880a0f4f81717" providerId="LiveId" clId="{49D886A4-DAFD-49DC-A0DB-1B4C886760BB}" dt="2020-01-16T09:45:11.204" v="4324" actId="1035"/>
          <ac:graphicFrameMkLst>
            <pc:docMk/>
            <pc:sldMk cId="678312968" sldId="288"/>
            <ac:graphicFrameMk id="3" creationId="{0D87D7A2-D0D9-4553-AA69-0CDFEFB86194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249694-830D-4D56-B0E5-2ECC978FEC6F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3617703-F156-42E2-90B4-F55FA72A678C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2000" dirty="0"/>
            <a:t>data</a:t>
          </a:r>
        </a:p>
      </dgm:t>
    </dgm:pt>
    <dgm:pt modelId="{DB7BD3E9-88A2-4ECD-8462-B99D816EE91F}" type="parTrans" cxnId="{8E91F8A4-F02B-4CC2-83F9-1DECDED34283}">
      <dgm:prSet/>
      <dgm:spPr/>
      <dgm:t>
        <a:bodyPr/>
        <a:lstStyle/>
        <a:p>
          <a:endParaRPr lang="en-US"/>
        </a:p>
      </dgm:t>
    </dgm:pt>
    <dgm:pt modelId="{F27E4B80-35D2-4D86-B13E-C942E61458F7}" type="sibTrans" cxnId="{8E91F8A4-F02B-4CC2-83F9-1DECDED34283}">
      <dgm:prSet/>
      <dgm:spPr/>
      <dgm:t>
        <a:bodyPr/>
        <a:lstStyle/>
        <a:p>
          <a:endParaRPr lang="en-US"/>
        </a:p>
      </dgm:t>
    </dgm:pt>
    <dgm:pt modelId="{3CFBE809-2AFB-4282-BA70-97DCD95D2223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JSON files: *.json</a:t>
          </a:r>
        </a:p>
      </dgm:t>
    </dgm:pt>
    <dgm:pt modelId="{FF188929-B89D-43F7-AEC6-8472EA203BBF}" type="parTrans" cxnId="{A85C0717-90DB-49B5-9E2C-60C902C2E2D9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4836A558-3F25-4852-9BBC-6393F75F8FD4}" type="sibTrans" cxnId="{A85C0717-90DB-49B5-9E2C-60C902C2E2D9}">
      <dgm:prSet/>
      <dgm:spPr/>
      <dgm:t>
        <a:bodyPr/>
        <a:lstStyle/>
        <a:p>
          <a:endParaRPr lang="en-US"/>
        </a:p>
      </dgm:t>
    </dgm:pt>
    <dgm:pt modelId="{D8A82957-3DDE-4CF4-B0FB-3AF5EC2F9E80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2000" dirty="0"/>
            <a:t>incl</a:t>
          </a:r>
        </a:p>
      </dgm:t>
    </dgm:pt>
    <dgm:pt modelId="{AB44643A-D8A2-42FC-AAD3-3526687E79A1}" type="parTrans" cxnId="{B12DB3E7-A384-4A25-8BB2-FA3C8F1D845F}">
      <dgm:prSet/>
      <dgm:spPr/>
      <dgm:t>
        <a:bodyPr/>
        <a:lstStyle/>
        <a:p>
          <a:endParaRPr lang="en-US"/>
        </a:p>
      </dgm:t>
    </dgm:pt>
    <dgm:pt modelId="{0E917A4D-7747-45CD-B716-71CD94C0C51A}" type="sibTrans" cxnId="{B12DB3E7-A384-4A25-8BB2-FA3C8F1D845F}">
      <dgm:prSet/>
      <dgm:spPr/>
      <dgm:t>
        <a:bodyPr/>
        <a:lstStyle/>
        <a:p>
          <a:endParaRPr lang="en-US"/>
        </a:p>
      </dgm:t>
    </dgm:pt>
    <dgm:pt modelId="{6EE98457-9FFE-4B82-9F61-3119DD8119B4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Header files: *.h</a:t>
          </a:r>
        </a:p>
      </dgm:t>
    </dgm:pt>
    <dgm:pt modelId="{85D6A381-8BBA-4265-8E3A-871A1422A0B7}" type="parTrans" cxnId="{748B3BFE-85BB-45FF-B91D-91447E8EA5C6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B0F3705E-8C84-4870-AB04-4DC0500E80C7}" type="sibTrans" cxnId="{748B3BFE-85BB-45FF-B91D-91447E8EA5C6}">
      <dgm:prSet/>
      <dgm:spPr/>
      <dgm:t>
        <a:bodyPr/>
        <a:lstStyle/>
        <a:p>
          <a:endParaRPr lang="en-US"/>
        </a:p>
      </dgm:t>
    </dgm:pt>
    <dgm:pt modelId="{58363F4C-7D5E-4B8D-91A3-49EF138BC3DF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2000" dirty="0"/>
            <a:t>lib</a:t>
          </a:r>
        </a:p>
      </dgm:t>
    </dgm:pt>
    <dgm:pt modelId="{CFE31C70-201A-43C8-A313-ADF92E05B72C}" type="parTrans" cxnId="{D84A86A2-FE80-462B-AADF-C26F4089CC92}">
      <dgm:prSet/>
      <dgm:spPr/>
      <dgm:t>
        <a:bodyPr/>
        <a:lstStyle/>
        <a:p>
          <a:endParaRPr lang="en-US"/>
        </a:p>
      </dgm:t>
    </dgm:pt>
    <dgm:pt modelId="{1150B4F8-71BA-4A27-AD6F-302CAAC48974}" type="sibTrans" cxnId="{D84A86A2-FE80-462B-AADF-C26F4089CC92}">
      <dgm:prSet/>
      <dgm:spPr/>
      <dgm:t>
        <a:bodyPr/>
        <a:lstStyle/>
        <a:p>
          <a:endParaRPr lang="en-US"/>
        </a:p>
      </dgm:t>
    </dgm:pt>
    <dgm:pt modelId="{2F65F0A9-0985-439B-BB84-CB85821D9070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External libraries: </a:t>
          </a:r>
          <a:r>
            <a:rPr lang="en-US" dirty="0" err="1"/>
            <a:t>cJSON</a:t>
          </a:r>
          <a:endParaRPr lang="en-US" dirty="0"/>
        </a:p>
      </dgm:t>
    </dgm:pt>
    <dgm:pt modelId="{1CB85BCC-B530-4386-9002-F708D748480B}" type="parTrans" cxnId="{BFA25490-8016-489E-96BD-97582B5F837E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D3B6083F-33BC-483A-AA45-5C569CFA4EB8}" type="sibTrans" cxnId="{BFA25490-8016-489E-96BD-97582B5F837E}">
      <dgm:prSet/>
      <dgm:spPr/>
      <dgm:t>
        <a:bodyPr/>
        <a:lstStyle/>
        <a:p>
          <a:endParaRPr lang="en-US"/>
        </a:p>
      </dgm:t>
    </dgm:pt>
    <dgm:pt modelId="{60A9A024-AC88-4C0E-8BB0-51BCBCF1DBAE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Created libraries: *.lib and *.</a:t>
          </a:r>
          <a:r>
            <a:rPr lang="en-US" dirty="0" err="1"/>
            <a:t>dll</a:t>
          </a:r>
          <a:endParaRPr lang="en-US" dirty="0"/>
        </a:p>
      </dgm:t>
    </dgm:pt>
    <dgm:pt modelId="{142C749E-5F64-48FD-A316-09F6191DCECE}" type="parTrans" cxnId="{7142FE0D-0D72-45E2-B6EE-C5C00BEC828D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EE387D01-724C-4C3E-AF4E-67D596920A7D}" type="sibTrans" cxnId="{7142FE0D-0D72-45E2-B6EE-C5C00BEC828D}">
      <dgm:prSet/>
      <dgm:spPr/>
      <dgm:t>
        <a:bodyPr/>
        <a:lstStyle/>
        <a:p>
          <a:endParaRPr lang="en-US"/>
        </a:p>
      </dgm:t>
    </dgm:pt>
    <dgm:pt modelId="{424B6920-EFB2-4ACF-9F4E-FA9DFDE914F4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2000" dirty="0"/>
            <a:t>obj</a:t>
          </a:r>
        </a:p>
      </dgm:t>
    </dgm:pt>
    <dgm:pt modelId="{EE29AF0F-EC50-4BC8-8470-B8227B99DF89}" type="parTrans" cxnId="{900D70AD-30A2-432B-8DBC-14675BD66079}">
      <dgm:prSet/>
      <dgm:spPr/>
      <dgm:t>
        <a:bodyPr/>
        <a:lstStyle/>
        <a:p>
          <a:endParaRPr lang="en-US"/>
        </a:p>
      </dgm:t>
    </dgm:pt>
    <dgm:pt modelId="{4381E9C9-736B-4829-A84E-0CE106F143DB}" type="sibTrans" cxnId="{900D70AD-30A2-432B-8DBC-14675BD66079}">
      <dgm:prSet/>
      <dgm:spPr/>
      <dgm:t>
        <a:bodyPr/>
        <a:lstStyle/>
        <a:p>
          <a:endParaRPr lang="en-US"/>
        </a:p>
      </dgm:t>
    </dgm:pt>
    <dgm:pt modelId="{38613C41-DDD4-4B24-A05C-06FFD9003E2A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Objected files created during compilation: *.obj</a:t>
          </a:r>
        </a:p>
      </dgm:t>
    </dgm:pt>
    <dgm:pt modelId="{7BCDDB95-5555-4937-A093-637209EB1F9A}" type="parTrans" cxnId="{0A81FE81-7DC6-4043-AC60-F936CDDFD976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C6BB92CC-2ACE-4F47-A0BA-128610CA4773}" type="sibTrans" cxnId="{0A81FE81-7DC6-4043-AC60-F936CDDFD976}">
      <dgm:prSet/>
      <dgm:spPr/>
      <dgm:t>
        <a:bodyPr/>
        <a:lstStyle/>
        <a:p>
          <a:endParaRPr lang="en-US"/>
        </a:p>
      </dgm:t>
    </dgm:pt>
    <dgm:pt modelId="{46794FC4-A80E-46D8-996F-153CCFD7606D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2000" dirty="0" err="1"/>
            <a:t>src</a:t>
          </a:r>
          <a:endParaRPr lang="en-US" sz="2000" dirty="0"/>
        </a:p>
      </dgm:t>
    </dgm:pt>
    <dgm:pt modelId="{02C33450-BF62-4DA9-96F4-33DC089C6C71}" type="parTrans" cxnId="{802138CD-90E9-4CCA-A386-EBBC6A5D9558}">
      <dgm:prSet/>
      <dgm:spPr/>
      <dgm:t>
        <a:bodyPr/>
        <a:lstStyle/>
        <a:p>
          <a:endParaRPr lang="en-US"/>
        </a:p>
      </dgm:t>
    </dgm:pt>
    <dgm:pt modelId="{6D70DF62-A10A-4572-A62C-C53966BD7411}" type="sibTrans" cxnId="{802138CD-90E9-4CCA-A386-EBBC6A5D9558}">
      <dgm:prSet/>
      <dgm:spPr/>
      <dgm:t>
        <a:bodyPr/>
        <a:lstStyle/>
        <a:p>
          <a:endParaRPr lang="en-US"/>
        </a:p>
      </dgm:t>
    </dgm:pt>
    <dgm:pt modelId="{6BDB496B-DA9A-41F6-AB63-986E178D3EC8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Source files: *.c</a:t>
          </a:r>
        </a:p>
      </dgm:t>
    </dgm:pt>
    <dgm:pt modelId="{DADDFFA4-77DD-4456-BF0B-CC319F927280}" type="parTrans" cxnId="{FA0D5E9E-1FE1-4A97-BE6E-773F9EEE8F53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BBA52FB3-9BB8-4778-8FF8-A52E073ACE88}" type="sibTrans" cxnId="{FA0D5E9E-1FE1-4A97-BE6E-773F9EEE8F53}">
      <dgm:prSet/>
      <dgm:spPr/>
      <dgm:t>
        <a:bodyPr/>
        <a:lstStyle/>
        <a:p>
          <a:endParaRPr lang="en-US"/>
        </a:p>
      </dgm:t>
    </dgm:pt>
    <dgm:pt modelId="{8D0E68B3-35E2-44B3-9714-579DEA0EF792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2000" dirty="0"/>
            <a:t>test</a:t>
          </a:r>
        </a:p>
      </dgm:t>
    </dgm:pt>
    <dgm:pt modelId="{21243ECD-346E-415B-8F01-D7F336423828}" type="parTrans" cxnId="{84E6B655-2C4B-466C-9D1C-FB59BB688F92}">
      <dgm:prSet/>
      <dgm:spPr/>
      <dgm:t>
        <a:bodyPr/>
        <a:lstStyle/>
        <a:p>
          <a:endParaRPr lang="en-US"/>
        </a:p>
      </dgm:t>
    </dgm:pt>
    <dgm:pt modelId="{5AF7D192-BD0F-4416-8ABE-31C4A298B5AA}" type="sibTrans" cxnId="{84E6B655-2C4B-466C-9D1C-FB59BB688F92}">
      <dgm:prSet/>
      <dgm:spPr/>
      <dgm:t>
        <a:bodyPr/>
        <a:lstStyle/>
        <a:p>
          <a:endParaRPr lang="en-US"/>
        </a:p>
      </dgm:t>
    </dgm:pt>
    <dgm:pt modelId="{47B9DA6C-E293-4D49-8FEE-E0DBBB579A0D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Scripts to test all source files: *.exe</a:t>
          </a:r>
        </a:p>
      </dgm:t>
    </dgm:pt>
    <dgm:pt modelId="{CC181990-26D1-4EB1-A1D7-63D5E15AA689}" type="parTrans" cxnId="{B27D6ED0-D1F8-4756-B27E-E09DE6DE7CA0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08E966F8-6935-46B9-8EEA-17E4C5997D82}" type="sibTrans" cxnId="{B27D6ED0-D1F8-4756-B27E-E09DE6DE7CA0}">
      <dgm:prSet/>
      <dgm:spPr/>
      <dgm:t>
        <a:bodyPr/>
        <a:lstStyle/>
        <a:p>
          <a:endParaRPr lang="en-US"/>
        </a:p>
      </dgm:t>
    </dgm:pt>
    <dgm:pt modelId="{F5138DF3-7AFB-40E8-BBD0-32A5F5814660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For adsorption: adsorption_*.h</a:t>
          </a:r>
        </a:p>
      </dgm:t>
    </dgm:pt>
    <dgm:pt modelId="{D5A5C40A-8A58-4DFB-AFFD-F865CF40417B}" type="parTrans" cxnId="{0C8169AB-E040-4C04-8B72-9475EE0891F2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B478D1CD-0937-4CDA-A585-41CD303CC231}" type="sibTrans" cxnId="{0C8169AB-E040-4C04-8B72-9475EE0891F2}">
      <dgm:prSet/>
      <dgm:spPr/>
      <dgm:t>
        <a:bodyPr/>
        <a:lstStyle/>
        <a:p>
          <a:endParaRPr lang="en-US"/>
        </a:p>
      </dgm:t>
    </dgm:pt>
    <dgm:pt modelId="{65CF6DC7-72FC-4E31-8454-3D77245AA95D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For absorption: absorption_*.h</a:t>
          </a:r>
        </a:p>
      </dgm:t>
    </dgm:pt>
    <dgm:pt modelId="{C13ECB35-FF53-42D3-B78B-2892E2FE274B}" type="parTrans" cxnId="{B103EEF7-CA72-45D3-BB91-63B701C6B042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12A9E73F-CA63-486D-82A5-D6A73CB5192D}" type="sibTrans" cxnId="{B103EEF7-CA72-45D3-BB91-63B701C6B042}">
      <dgm:prSet/>
      <dgm:spPr/>
      <dgm:t>
        <a:bodyPr/>
        <a:lstStyle/>
        <a:p>
          <a:endParaRPr lang="en-US"/>
        </a:p>
      </dgm:t>
    </dgm:pt>
    <dgm:pt modelId="{4675AE5C-9E59-423E-BBCA-284D025B6CFD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For refrigerant: refrigerant_*.h </a:t>
          </a:r>
        </a:p>
      </dgm:t>
    </dgm:pt>
    <dgm:pt modelId="{C59C9FE1-3E3C-4224-B76F-5FB6D16CB3D3}" type="parTrans" cxnId="{86DCB4F2-73BF-4A2F-A60B-2C4047A5D4D9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3C0B0A29-DBEA-401F-8AF5-80EEB63B6031}" type="sibTrans" cxnId="{86DCB4F2-73BF-4A2F-A60B-2C4047A5D4D9}">
      <dgm:prSet/>
      <dgm:spPr/>
      <dgm:t>
        <a:bodyPr/>
        <a:lstStyle/>
        <a:p>
          <a:endParaRPr lang="en-US"/>
        </a:p>
      </dgm:t>
    </dgm:pt>
    <dgm:pt modelId="{4517C970-C955-4E9E-9F00-76C7B8238F62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For working pair: </a:t>
          </a:r>
          <a:r>
            <a:rPr lang="en-US" dirty="0" err="1"/>
            <a:t>workingPair.h</a:t>
          </a:r>
          <a:endParaRPr lang="en-US" dirty="0"/>
        </a:p>
      </dgm:t>
    </dgm:pt>
    <dgm:pt modelId="{769BD287-FCFD-4880-B81B-E38E1353C606}" type="parTrans" cxnId="{C3BD6582-6E24-41CE-8074-9611A4F2F0D9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DA79E906-365A-4861-A6B0-A53EB1676318}" type="sibTrans" cxnId="{C3BD6582-6E24-41CE-8074-9611A4F2F0D9}">
      <dgm:prSet/>
      <dgm:spPr/>
      <dgm:t>
        <a:bodyPr/>
        <a:lstStyle/>
        <a:p>
          <a:endParaRPr lang="en-US"/>
        </a:p>
      </dgm:t>
    </dgm:pt>
    <dgm:pt modelId="{250CF8A2-0E1C-480F-82DA-BC656FF114E5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For adsorption: adsorption_*.c</a:t>
          </a:r>
        </a:p>
      </dgm:t>
    </dgm:pt>
    <dgm:pt modelId="{1CE17E67-55E7-4B23-AB22-A28C4E4E6150}" type="parTrans" cxnId="{C27A6A6F-C03A-41B5-8202-A2D609506344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1B2810D1-72F1-45DA-825A-6FE757A92F8F}" type="sibTrans" cxnId="{C27A6A6F-C03A-41B5-8202-A2D609506344}">
      <dgm:prSet/>
      <dgm:spPr/>
      <dgm:t>
        <a:bodyPr/>
        <a:lstStyle/>
        <a:p>
          <a:endParaRPr lang="en-US"/>
        </a:p>
      </dgm:t>
    </dgm:pt>
    <dgm:pt modelId="{58858531-1889-484F-A114-320120BE3067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For absorption: absorption_*.c</a:t>
          </a:r>
        </a:p>
      </dgm:t>
    </dgm:pt>
    <dgm:pt modelId="{FEB3984C-D60D-4401-AF8C-855252C9A3AE}" type="parTrans" cxnId="{F28913E5-58A1-4B11-A0C7-78E4DF06A73E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836C4876-AD07-4455-A1AD-25782235010F}" type="sibTrans" cxnId="{F28913E5-58A1-4B11-A0C7-78E4DF06A73E}">
      <dgm:prSet/>
      <dgm:spPr/>
      <dgm:t>
        <a:bodyPr/>
        <a:lstStyle/>
        <a:p>
          <a:endParaRPr lang="en-US"/>
        </a:p>
      </dgm:t>
    </dgm:pt>
    <dgm:pt modelId="{E9861B78-DEB0-48FD-B3CA-A3BBD4016104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For refrigerant: refrigerant_*.c </a:t>
          </a:r>
        </a:p>
      </dgm:t>
    </dgm:pt>
    <dgm:pt modelId="{4D19B19C-A75C-4331-AD93-6EEDE9D9C687}" type="parTrans" cxnId="{67C03225-11F8-452B-818E-6E1D4C5EBC38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CB87D049-8911-47A0-94A8-F5355094F66B}" type="sibTrans" cxnId="{67C03225-11F8-452B-818E-6E1D4C5EBC38}">
      <dgm:prSet/>
      <dgm:spPr/>
      <dgm:t>
        <a:bodyPr/>
        <a:lstStyle/>
        <a:p>
          <a:endParaRPr lang="en-US"/>
        </a:p>
      </dgm:t>
    </dgm:pt>
    <dgm:pt modelId="{79451D5D-D58B-45EC-99DB-72081D1DFB9E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For working pair: </a:t>
          </a:r>
          <a:r>
            <a:rPr lang="en-US" dirty="0" err="1"/>
            <a:t>workingPair.c</a:t>
          </a:r>
          <a:endParaRPr lang="en-US" dirty="0"/>
        </a:p>
      </dgm:t>
    </dgm:pt>
    <dgm:pt modelId="{B0372C91-2B47-4718-8FD5-3CDDE10E4F5E}" type="parTrans" cxnId="{258946A4-A953-4935-BEB9-18AC7BB04B6D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564279A8-36BD-4429-97B4-5A7DF6368F0C}" type="sibTrans" cxnId="{258946A4-A953-4935-BEB9-18AC7BB04B6D}">
      <dgm:prSet/>
      <dgm:spPr/>
      <dgm:t>
        <a:bodyPr/>
        <a:lstStyle/>
        <a:p>
          <a:endParaRPr lang="en-US"/>
        </a:p>
      </dgm:t>
    </dgm:pt>
    <dgm:pt modelId="{02D1A705-12F2-4464-ABED-3B3FC26B4273}">
      <dgm:prSet phldrT="[Text]"/>
      <dgm:spPr>
        <a:ln>
          <a:solidFill>
            <a:schemeClr val="tx2"/>
          </a:solidFill>
        </a:ln>
      </dgm:spPr>
      <dgm:t>
        <a:bodyPr/>
        <a:lstStyle/>
        <a:p>
          <a:r>
            <a:rPr lang="en-US" dirty="0"/>
            <a:t>For testers: test_*.c</a:t>
          </a:r>
        </a:p>
      </dgm:t>
    </dgm:pt>
    <dgm:pt modelId="{8323E581-429E-4AAA-9F3B-F0A67E4B7D28}" type="parTrans" cxnId="{6699DEC9-CB7A-4361-99A4-9B2761F10E56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14F4377D-BE54-41FF-AEA5-89341D918BB3}" type="sibTrans" cxnId="{6699DEC9-CB7A-4361-99A4-9B2761F10E56}">
      <dgm:prSet/>
      <dgm:spPr/>
      <dgm:t>
        <a:bodyPr/>
        <a:lstStyle/>
        <a:p>
          <a:endParaRPr lang="en-US"/>
        </a:p>
      </dgm:t>
    </dgm:pt>
    <dgm:pt modelId="{2D8250C9-0C37-4B9D-A4D7-E5AE5A5EE523}" type="pres">
      <dgm:prSet presAssocID="{08249694-830D-4D56-B0E5-2ECC978FEC6F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D2EC8B9-6C86-4FB8-B005-B997C786C0BD}" type="pres">
      <dgm:prSet presAssocID="{A3617703-F156-42E2-90B4-F55FA72A678C}" presName="root" presStyleCnt="0"/>
      <dgm:spPr/>
    </dgm:pt>
    <dgm:pt modelId="{DCEC8A0E-842C-4010-9693-63226F3BE451}" type="pres">
      <dgm:prSet presAssocID="{A3617703-F156-42E2-90B4-F55FA72A678C}" presName="rootComposite" presStyleCnt="0"/>
      <dgm:spPr/>
    </dgm:pt>
    <dgm:pt modelId="{E8E45A31-C017-48C4-940D-232A6F894A7D}" type="pres">
      <dgm:prSet presAssocID="{A3617703-F156-42E2-90B4-F55FA72A678C}" presName="rootText" presStyleLbl="node1" presStyleIdx="0" presStyleCnt="6"/>
      <dgm:spPr/>
    </dgm:pt>
    <dgm:pt modelId="{1A3F7AB5-5357-4008-83C1-F5A17790B720}" type="pres">
      <dgm:prSet presAssocID="{A3617703-F156-42E2-90B4-F55FA72A678C}" presName="rootConnector" presStyleLbl="node1" presStyleIdx="0" presStyleCnt="6"/>
      <dgm:spPr/>
    </dgm:pt>
    <dgm:pt modelId="{01528E34-0E71-4D5F-8449-9EF1B0089EF7}" type="pres">
      <dgm:prSet presAssocID="{A3617703-F156-42E2-90B4-F55FA72A678C}" presName="childShape" presStyleCnt="0"/>
      <dgm:spPr/>
    </dgm:pt>
    <dgm:pt modelId="{A3C59C0E-0504-45BA-B2DE-8842598D11D3}" type="pres">
      <dgm:prSet presAssocID="{FF188929-B89D-43F7-AEC6-8472EA203BBF}" presName="Name13" presStyleLbl="parChTrans1D2" presStyleIdx="0" presStyleCnt="16"/>
      <dgm:spPr/>
    </dgm:pt>
    <dgm:pt modelId="{83FC2609-CD3E-4DDE-94AD-A0BD077DBAF5}" type="pres">
      <dgm:prSet presAssocID="{3CFBE809-2AFB-4282-BA70-97DCD95D2223}" presName="childText" presStyleLbl="bgAcc1" presStyleIdx="0" presStyleCnt="16">
        <dgm:presLayoutVars>
          <dgm:bulletEnabled val="1"/>
        </dgm:presLayoutVars>
      </dgm:prSet>
      <dgm:spPr/>
    </dgm:pt>
    <dgm:pt modelId="{676EC040-4747-4268-BC08-8FE0584B6DFB}" type="pres">
      <dgm:prSet presAssocID="{D8A82957-3DDE-4CF4-B0FB-3AF5EC2F9E80}" presName="root" presStyleCnt="0"/>
      <dgm:spPr/>
    </dgm:pt>
    <dgm:pt modelId="{B9782307-B23F-4509-99B4-2442E2C8BD56}" type="pres">
      <dgm:prSet presAssocID="{D8A82957-3DDE-4CF4-B0FB-3AF5EC2F9E80}" presName="rootComposite" presStyleCnt="0"/>
      <dgm:spPr/>
    </dgm:pt>
    <dgm:pt modelId="{D773B14A-1502-4859-A8F0-521C4A545B8E}" type="pres">
      <dgm:prSet presAssocID="{D8A82957-3DDE-4CF4-B0FB-3AF5EC2F9E80}" presName="rootText" presStyleLbl="node1" presStyleIdx="1" presStyleCnt="6"/>
      <dgm:spPr/>
    </dgm:pt>
    <dgm:pt modelId="{A51D5A06-4203-4C41-98EA-E8E747570F21}" type="pres">
      <dgm:prSet presAssocID="{D8A82957-3DDE-4CF4-B0FB-3AF5EC2F9E80}" presName="rootConnector" presStyleLbl="node1" presStyleIdx="1" presStyleCnt="6"/>
      <dgm:spPr/>
    </dgm:pt>
    <dgm:pt modelId="{9CAB12CA-76AF-471F-B08E-170E052765F7}" type="pres">
      <dgm:prSet presAssocID="{D8A82957-3DDE-4CF4-B0FB-3AF5EC2F9E80}" presName="childShape" presStyleCnt="0"/>
      <dgm:spPr/>
    </dgm:pt>
    <dgm:pt modelId="{3C378AD0-1CA5-4F60-BEF6-0B7133964351}" type="pres">
      <dgm:prSet presAssocID="{85D6A381-8BBA-4265-8E3A-871A1422A0B7}" presName="Name13" presStyleLbl="parChTrans1D2" presStyleIdx="1" presStyleCnt="16"/>
      <dgm:spPr/>
    </dgm:pt>
    <dgm:pt modelId="{5A9A3792-71E5-4BED-9BEA-54D466E9852A}" type="pres">
      <dgm:prSet presAssocID="{6EE98457-9FFE-4B82-9F61-3119DD8119B4}" presName="childText" presStyleLbl="bgAcc1" presStyleIdx="1" presStyleCnt="16">
        <dgm:presLayoutVars>
          <dgm:bulletEnabled val="1"/>
        </dgm:presLayoutVars>
      </dgm:prSet>
      <dgm:spPr/>
    </dgm:pt>
    <dgm:pt modelId="{845DA434-C49C-4895-9441-E628CEA06A0C}" type="pres">
      <dgm:prSet presAssocID="{D5A5C40A-8A58-4DFB-AFFD-F865CF40417B}" presName="Name13" presStyleLbl="parChTrans1D2" presStyleIdx="2" presStyleCnt="16"/>
      <dgm:spPr/>
    </dgm:pt>
    <dgm:pt modelId="{382E4818-3849-4A0E-BA0A-44DC9F0E2355}" type="pres">
      <dgm:prSet presAssocID="{F5138DF3-7AFB-40E8-BBD0-32A5F5814660}" presName="childText" presStyleLbl="bgAcc1" presStyleIdx="2" presStyleCnt="16">
        <dgm:presLayoutVars>
          <dgm:bulletEnabled val="1"/>
        </dgm:presLayoutVars>
      </dgm:prSet>
      <dgm:spPr/>
    </dgm:pt>
    <dgm:pt modelId="{A8F1E7CE-BC66-43E1-B350-1D08644F3BB3}" type="pres">
      <dgm:prSet presAssocID="{C13ECB35-FF53-42D3-B78B-2892E2FE274B}" presName="Name13" presStyleLbl="parChTrans1D2" presStyleIdx="3" presStyleCnt="16"/>
      <dgm:spPr/>
    </dgm:pt>
    <dgm:pt modelId="{59F9F28D-29E8-4027-947A-B8B61E66C24E}" type="pres">
      <dgm:prSet presAssocID="{65CF6DC7-72FC-4E31-8454-3D77245AA95D}" presName="childText" presStyleLbl="bgAcc1" presStyleIdx="3" presStyleCnt="16">
        <dgm:presLayoutVars>
          <dgm:bulletEnabled val="1"/>
        </dgm:presLayoutVars>
      </dgm:prSet>
      <dgm:spPr/>
    </dgm:pt>
    <dgm:pt modelId="{01359481-B6D1-4834-9877-B0C659E8EAB6}" type="pres">
      <dgm:prSet presAssocID="{C59C9FE1-3E3C-4224-B76F-5FB6D16CB3D3}" presName="Name13" presStyleLbl="parChTrans1D2" presStyleIdx="4" presStyleCnt="16"/>
      <dgm:spPr/>
    </dgm:pt>
    <dgm:pt modelId="{6D81FF67-EC81-4FC0-ADB3-BA0BF6F48480}" type="pres">
      <dgm:prSet presAssocID="{4675AE5C-9E59-423E-BBCA-284D025B6CFD}" presName="childText" presStyleLbl="bgAcc1" presStyleIdx="4" presStyleCnt="16">
        <dgm:presLayoutVars>
          <dgm:bulletEnabled val="1"/>
        </dgm:presLayoutVars>
      </dgm:prSet>
      <dgm:spPr/>
    </dgm:pt>
    <dgm:pt modelId="{4C6FA95C-F2C9-401C-A4CD-0E8454DB88B9}" type="pres">
      <dgm:prSet presAssocID="{769BD287-FCFD-4880-B81B-E38E1353C606}" presName="Name13" presStyleLbl="parChTrans1D2" presStyleIdx="5" presStyleCnt="16"/>
      <dgm:spPr/>
    </dgm:pt>
    <dgm:pt modelId="{88B403B1-ABF6-404C-A8E7-C9787BA8F723}" type="pres">
      <dgm:prSet presAssocID="{4517C970-C955-4E9E-9F00-76C7B8238F62}" presName="childText" presStyleLbl="bgAcc1" presStyleIdx="5" presStyleCnt="16">
        <dgm:presLayoutVars>
          <dgm:bulletEnabled val="1"/>
        </dgm:presLayoutVars>
      </dgm:prSet>
      <dgm:spPr/>
    </dgm:pt>
    <dgm:pt modelId="{2904289D-CBF0-4224-91A2-C17340D3155C}" type="pres">
      <dgm:prSet presAssocID="{58363F4C-7D5E-4B8D-91A3-49EF138BC3DF}" presName="root" presStyleCnt="0"/>
      <dgm:spPr/>
    </dgm:pt>
    <dgm:pt modelId="{2D84AED2-F5D1-48D6-A533-8E460795CA90}" type="pres">
      <dgm:prSet presAssocID="{58363F4C-7D5E-4B8D-91A3-49EF138BC3DF}" presName="rootComposite" presStyleCnt="0"/>
      <dgm:spPr/>
    </dgm:pt>
    <dgm:pt modelId="{D6785178-3BE8-4C98-BAD4-CCB8561B8BE6}" type="pres">
      <dgm:prSet presAssocID="{58363F4C-7D5E-4B8D-91A3-49EF138BC3DF}" presName="rootText" presStyleLbl="node1" presStyleIdx="2" presStyleCnt="6"/>
      <dgm:spPr/>
    </dgm:pt>
    <dgm:pt modelId="{60B04726-17CA-43C2-8A86-600ACEFFD0F3}" type="pres">
      <dgm:prSet presAssocID="{58363F4C-7D5E-4B8D-91A3-49EF138BC3DF}" presName="rootConnector" presStyleLbl="node1" presStyleIdx="2" presStyleCnt="6"/>
      <dgm:spPr/>
    </dgm:pt>
    <dgm:pt modelId="{2E92EA36-BE6B-49C5-926B-8ED5309503A7}" type="pres">
      <dgm:prSet presAssocID="{58363F4C-7D5E-4B8D-91A3-49EF138BC3DF}" presName="childShape" presStyleCnt="0"/>
      <dgm:spPr/>
    </dgm:pt>
    <dgm:pt modelId="{92655BBF-93D5-44B7-B990-52B5066D78B5}" type="pres">
      <dgm:prSet presAssocID="{1CB85BCC-B530-4386-9002-F708D748480B}" presName="Name13" presStyleLbl="parChTrans1D2" presStyleIdx="6" presStyleCnt="16"/>
      <dgm:spPr/>
    </dgm:pt>
    <dgm:pt modelId="{FB411E4A-8623-419A-98B4-1BEDE72DF5C1}" type="pres">
      <dgm:prSet presAssocID="{2F65F0A9-0985-439B-BB84-CB85821D9070}" presName="childText" presStyleLbl="bgAcc1" presStyleIdx="6" presStyleCnt="16">
        <dgm:presLayoutVars>
          <dgm:bulletEnabled val="1"/>
        </dgm:presLayoutVars>
      </dgm:prSet>
      <dgm:spPr/>
    </dgm:pt>
    <dgm:pt modelId="{9699C32E-1C6F-43BC-AE0A-6413641B08D7}" type="pres">
      <dgm:prSet presAssocID="{142C749E-5F64-48FD-A316-09F6191DCECE}" presName="Name13" presStyleLbl="parChTrans1D2" presStyleIdx="7" presStyleCnt="16"/>
      <dgm:spPr/>
    </dgm:pt>
    <dgm:pt modelId="{BD7601FE-1338-4710-A966-352D9BB6481E}" type="pres">
      <dgm:prSet presAssocID="{60A9A024-AC88-4C0E-8BB0-51BCBCF1DBAE}" presName="childText" presStyleLbl="bgAcc1" presStyleIdx="7" presStyleCnt="16">
        <dgm:presLayoutVars>
          <dgm:bulletEnabled val="1"/>
        </dgm:presLayoutVars>
      </dgm:prSet>
      <dgm:spPr/>
    </dgm:pt>
    <dgm:pt modelId="{190F1FEC-BDE3-467D-954E-E62F2C2A70D6}" type="pres">
      <dgm:prSet presAssocID="{424B6920-EFB2-4ACF-9F4E-FA9DFDE914F4}" presName="root" presStyleCnt="0"/>
      <dgm:spPr/>
    </dgm:pt>
    <dgm:pt modelId="{8AF838FC-7FB9-4339-B5DB-0FE89935F5F9}" type="pres">
      <dgm:prSet presAssocID="{424B6920-EFB2-4ACF-9F4E-FA9DFDE914F4}" presName="rootComposite" presStyleCnt="0"/>
      <dgm:spPr/>
    </dgm:pt>
    <dgm:pt modelId="{6BE4F37E-0158-49D9-B3E0-436F6976E761}" type="pres">
      <dgm:prSet presAssocID="{424B6920-EFB2-4ACF-9F4E-FA9DFDE914F4}" presName="rootText" presStyleLbl="node1" presStyleIdx="3" presStyleCnt="6"/>
      <dgm:spPr/>
    </dgm:pt>
    <dgm:pt modelId="{B01EC080-11BD-4FEF-97AA-90EBD319B15B}" type="pres">
      <dgm:prSet presAssocID="{424B6920-EFB2-4ACF-9F4E-FA9DFDE914F4}" presName="rootConnector" presStyleLbl="node1" presStyleIdx="3" presStyleCnt="6"/>
      <dgm:spPr/>
    </dgm:pt>
    <dgm:pt modelId="{E06C51F5-AF35-41D4-97ED-65601A024BD7}" type="pres">
      <dgm:prSet presAssocID="{424B6920-EFB2-4ACF-9F4E-FA9DFDE914F4}" presName="childShape" presStyleCnt="0"/>
      <dgm:spPr/>
    </dgm:pt>
    <dgm:pt modelId="{6CB43F14-29D6-4EF6-8ABB-FBAC5EB83559}" type="pres">
      <dgm:prSet presAssocID="{7BCDDB95-5555-4937-A093-637209EB1F9A}" presName="Name13" presStyleLbl="parChTrans1D2" presStyleIdx="8" presStyleCnt="16"/>
      <dgm:spPr/>
    </dgm:pt>
    <dgm:pt modelId="{3A6C2A6D-1A74-4849-9685-A4B1016C17CB}" type="pres">
      <dgm:prSet presAssocID="{38613C41-DDD4-4B24-A05C-06FFD9003E2A}" presName="childText" presStyleLbl="bgAcc1" presStyleIdx="8" presStyleCnt="16">
        <dgm:presLayoutVars>
          <dgm:bulletEnabled val="1"/>
        </dgm:presLayoutVars>
      </dgm:prSet>
      <dgm:spPr/>
    </dgm:pt>
    <dgm:pt modelId="{9D43FAE6-CD71-4F6B-9645-E3714E084FEC}" type="pres">
      <dgm:prSet presAssocID="{46794FC4-A80E-46D8-996F-153CCFD7606D}" presName="root" presStyleCnt="0"/>
      <dgm:spPr/>
    </dgm:pt>
    <dgm:pt modelId="{25E83EB1-51EA-46D2-89F8-9160519F6D68}" type="pres">
      <dgm:prSet presAssocID="{46794FC4-A80E-46D8-996F-153CCFD7606D}" presName="rootComposite" presStyleCnt="0"/>
      <dgm:spPr/>
    </dgm:pt>
    <dgm:pt modelId="{59121240-3E43-41AB-A401-F68B591867E8}" type="pres">
      <dgm:prSet presAssocID="{46794FC4-A80E-46D8-996F-153CCFD7606D}" presName="rootText" presStyleLbl="node1" presStyleIdx="4" presStyleCnt="6"/>
      <dgm:spPr/>
    </dgm:pt>
    <dgm:pt modelId="{C5BE2218-5FF6-4C84-B6B2-DEABD32D0315}" type="pres">
      <dgm:prSet presAssocID="{46794FC4-A80E-46D8-996F-153CCFD7606D}" presName="rootConnector" presStyleLbl="node1" presStyleIdx="4" presStyleCnt="6"/>
      <dgm:spPr/>
    </dgm:pt>
    <dgm:pt modelId="{AC848523-1968-4776-842B-80FB1751EFA9}" type="pres">
      <dgm:prSet presAssocID="{46794FC4-A80E-46D8-996F-153CCFD7606D}" presName="childShape" presStyleCnt="0"/>
      <dgm:spPr/>
    </dgm:pt>
    <dgm:pt modelId="{70CED1EA-98E3-41C5-8FEF-EDF94DCC0905}" type="pres">
      <dgm:prSet presAssocID="{DADDFFA4-77DD-4456-BF0B-CC319F927280}" presName="Name13" presStyleLbl="parChTrans1D2" presStyleIdx="9" presStyleCnt="16"/>
      <dgm:spPr/>
    </dgm:pt>
    <dgm:pt modelId="{266986BC-F7A2-4EB0-AEC1-6E14B0A37641}" type="pres">
      <dgm:prSet presAssocID="{6BDB496B-DA9A-41F6-AB63-986E178D3EC8}" presName="childText" presStyleLbl="bgAcc1" presStyleIdx="9" presStyleCnt="16">
        <dgm:presLayoutVars>
          <dgm:bulletEnabled val="1"/>
        </dgm:presLayoutVars>
      </dgm:prSet>
      <dgm:spPr/>
    </dgm:pt>
    <dgm:pt modelId="{0FFDC251-5EBB-4130-9411-BB50D4A70DAC}" type="pres">
      <dgm:prSet presAssocID="{1CE17E67-55E7-4B23-AB22-A28C4E4E6150}" presName="Name13" presStyleLbl="parChTrans1D2" presStyleIdx="10" presStyleCnt="16"/>
      <dgm:spPr/>
    </dgm:pt>
    <dgm:pt modelId="{7221BE9D-7F1A-4330-8722-78A0586088C2}" type="pres">
      <dgm:prSet presAssocID="{250CF8A2-0E1C-480F-82DA-BC656FF114E5}" presName="childText" presStyleLbl="bgAcc1" presStyleIdx="10" presStyleCnt="16">
        <dgm:presLayoutVars>
          <dgm:bulletEnabled val="1"/>
        </dgm:presLayoutVars>
      </dgm:prSet>
      <dgm:spPr/>
    </dgm:pt>
    <dgm:pt modelId="{18B27AFF-E03B-484D-8D85-BFE0497DA14D}" type="pres">
      <dgm:prSet presAssocID="{FEB3984C-D60D-4401-AF8C-855252C9A3AE}" presName="Name13" presStyleLbl="parChTrans1D2" presStyleIdx="11" presStyleCnt="16"/>
      <dgm:spPr/>
    </dgm:pt>
    <dgm:pt modelId="{1DB2B310-6042-4CAF-8CBA-3D53426F3BC6}" type="pres">
      <dgm:prSet presAssocID="{58858531-1889-484F-A114-320120BE3067}" presName="childText" presStyleLbl="bgAcc1" presStyleIdx="11" presStyleCnt="16">
        <dgm:presLayoutVars>
          <dgm:bulletEnabled val="1"/>
        </dgm:presLayoutVars>
      </dgm:prSet>
      <dgm:spPr/>
    </dgm:pt>
    <dgm:pt modelId="{37A5FC9F-EBDF-4B03-A3EE-7D528B60FB47}" type="pres">
      <dgm:prSet presAssocID="{4D19B19C-A75C-4331-AD93-6EEDE9D9C687}" presName="Name13" presStyleLbl="parChTrans1D2" presStyleIdx="12" presStyleCnt="16"/>
      <dgm:spPr/>
    </dgm:pt>
    <dgm:pt modelId="{D0DBFDFE-8233-4C55-9847-CB5CFC1777E9}" type="pres">
      <dgm:prSet presAssocID="{E9861B78-DEB0-48FD-B3CA-A3BBD4016104}" presName="childText" presStyleLbl="bgAcc1" presStyleIdx="12" presStyleCnt="16">
        <dgm:presLayoutVars>
          <dgm:bulletEnabled val="1"/>
        </dgm:presLayoutVars>
      </dgm:prSet>
      <dgm:spPr/>
    </dgm:pt>
    <dgm:pt modelId="{481E5998-14BF-470A-93CE-C56BDAAB8B74}" type="pres">
      <dgm:prSet presAssocID="{B0372C91-2B47-4718-8FD5-3CDDE10E4F5E}" presName="Name13" presStyleLbl="parChTrans1D2" presStyleIdx="13" presStyleCnt="16"/>
      <dgm:spPr/>
    </dgm:pt>
    <dgm:pt modelId="{19CC7990-AF7E-4E9D-85D2-937156C3BBD4}" type="pres">
      <dgm:prSet presAssocID="{79451D5D-D58B-45EC-99DB-72081D1DFB9E}" presName="childText" presStyleLbl="bgAcc1" presStyleIdx="13" presStyleCnt="16">
        <dgm:presLayoutVars>
          <dgm:bulletEnabled val="1"/>
        </dgm:presLayoutVars>
      </dgm:prSet>
      <dgm:spPr/>
    </dgm:pt>
    <dgm:pt modelId="{9003B7CA-CE84-4453-8EC7-3C74E0BD8096}" type="pres">
      <dgm:prSet presAssocID="{8323E581-429E-4AAA-9F3B-F0A67E4B7D28}" presName="Name13" presStyleLbl="parChTrans1D2" presStyleIdx="14" presStyleCnt="16"/>
      <dgm:spPr/>
    </dgm:pt>
    <dgm:pt modelId="{3FF602A8-A380-41AF-A36B-C5AADF226AFD}" type="pres">
      <dgm:prSet presAssocID="{02D1A705-12F2-4464-ABED-3B3FC26B4273}" presName="childText" presStyleLbl="bgAcc1" presStyleIdx="14" presStyleCnt="16">
        <dgm:presLayoutVars>
          <dgm:bulletEnabled val="1"/>
        </dgm:presLayoutVars>
      </dgm:prSet>
      <dgm:spPr/>
    </dgm:pt>
    <dgm:pt modelId="{7FC85B77-0432-4736-8CBA-0573971665D3}" type="pres">
      <dgm:prSet presAssocID="{8D0E68B3-35E2-44B3-9714-579DEA0EF792}" presName="root" presStyleCnt="0"/>
      <dgm:spPr/>
    </dgm:pt>
    <dgm:pt modelId="{0866E21F-745F-4A5A-B8DA-64AC4245FEE9}" type="pres">
      <dgm:prSet presAssocID="{8D0E68B3-35E2-44B3-9714-579DEA0EF792}" presName="rootComposite" presStyleCnt="0"/>
      <dgm:spPr/>
    </dgm:pt>
    <dgm:pt modelId="{D0FAC436-B069-43A3-812B-A161CDA0D1D1}" type="pres">
      <dgm:prSet presAssocID="{8D0E68B3-35E2-44B3-9714-579DEA0EF792}" presName="rootText" presStyleLbl="node1" presStyleIdx="5" presStyleCnt="6"/>
      <dgm:spPr/>
    </dgm:pt>
    <dgm:pt modelId="{46A8AE3F-91B1-443B-B5AE-276334EA3A04}" type="pres">
      <dgm:prSet presAssocID="{8D0E68B3-35E2-44B3-9714-579DEA0EF792}" presName="rootConnector" presStyleLbl="node1" presStyleIdx="5" presStyleCnt="6"/>
      <dgm:spPr/>
    </dgm:pt>
    <dgm:pt modelId="{85D951ED-6380-4E54-9719-1B3B8DE4C998}" type="pres">
      <dgm:prSet presAssocID="{8D0E68B3-35E2-44B3-9714-579DEA0EF792}" presName="childShape" presStyleCnt="0"/>
      <dgm:spPr/>
    </dgm:pt>
    <dgm:pt modelId="{F3E0FFAA-DC62-4B24-9D00-283CFD976100}" type="pres">
      <dgm:prSet presAssocID="{CC181990-26D1-4EB1-A1D7-63D5E15AA689}" presName="Name13" presStyleLbl="parChTrans1D2" presStyleIdx="15" presStyleCnt="16"/>
      <dgm:spPr/>
    </dgm:pt>
    <dgm:pt modelId="{ED6F94C0-4FF1-470D-BC32-7F3DE9D081E1}" type="pres">
      <dgm:prSet presAssocID="{47B9DA6C-E293-4D49-8FEE-E0DBBB579A0D}" presName="childText" presStyleLbl="bgAcc1" presStyleIdx="15" presStyleCnt="16">
        <dgm:presLayoutVars>
          <dgm:bulletEnabled val="1"/>
        </dgm:presLayoutVars>
      </dgm:prSet>
      <dgm:spPr/>
    </dgm:pt>
  </dgm:ptLst>
  <dgm:cxnLst>
    <dgm:cxn modelId="{6E1F7E00-DED5-44FC-BA48-6EC1E6F7FE2F}" type="presOf" srcId="{F5138DF3-7AFB-40E8-BBD0-32A5F5814660}" destId="{382E4818-3849-4A0E-BA0A-44DC9F0E2355}" srcOrd="0" destOrd="0" presId="urn:microsoft.com/office/officeart/2005/8/layout/hierarchy3"/>
    <dgm:cxn modelId="{30759300-ECB1-4DAA-B129-E5FEC901466F}" type="presOf" srcId="{CC181990-26D1-4EB1-A1D7-63D5E15AA689}" destId="{F3E0FFAA-DC62-4B24-9D00-283CFD976100}" srcOrd="0" destOrd="0" presId="urn:microsoft.com/office/officeart/2005/8/layout/hierarchy3"/>
    <dgm:cxn modelId="{E56CAB03-04EB-4805-ABD2-75397ECB67BE}" type="presOf" srcId="{2F65F0A9-0985-439B-BB84-CB85821D9070}" destId="{FB411E4A-8623-419A-98B4-1BEDE72DF5C1}" srcOrd="0" destOrd="0" presId="urn:microsoft.com/office/officeart/2005/8/layout/hierarchy3"/>
    <dgm:cxn modelId="{7142FE0D-0D72-45E2-B6EE-C5C00BEC828D}" srcId="{58363F4C-7D5E-4B8D-91A3-49EF138BC3DF}" destId="{60A9A024-AC88-4C0E-8BB0-51BCBCF1DBAE}" srcOrd="1" destOrd="0" parTransId="{142C749E-5F64-48FD-A316-09F6191DCECE}" sibTransId="{EE387D01-724C-4C3E-AF4E-67D596920A7D}"/>
    <dgm:cxn modelId="{A85C0717-90DB-49B5-9E2C-60C902C2E2D9}" srcId="{A3617703-F156-42E2-90B4-F55FA72A678C}" destId="{3CFBE809-2AFB-4282-BA70-97DCD95D2223}" srcOrd="0" destOrd="0" parTransId="{FF188929-B89D-43F7-AEC6-8472EA203BBF}" sibTransId="{4836A558-3F25-4852-9BBC-6393F75F8FD4}"/>
    <dgm:cxn modelId="{DF2E3623-8C74-46C9-9B3F-C2B0667B6303}" type="presOf" srcId="{02D1A705-12F2-4464-ABED-3B3FC26B4273}" destId="{3FF602A8-A380-41AF-A36B-C5AADF226AFD}" srcOrd="0" destOrd="0" presId="urn:microsoft.com/office/officeart/2005/8/layout/hierarchy3"/>
    <dgm:cxn modelId="{67C03225-11F8-452B-818E-6E1D4C5EBC38}" srcId="{46794FC4-A80E-46D8-996F-153CCFD7606D}" destId="{E9861B78-DEB0-48FD-B3CA-A3BBD4016104}" srcOrd="3" destOrd="0" parTransId="{4D19B19C-A75C-4331-AD93-6EEDE9D9C687}" sibTransId="{CB87D049-8911-47A0-94A8-F5355094F66B}"/>
    <dgm:cxn modelId="{3A06DB25-5C54-427A-BFFB-59D1F5178A34}" type="presOf" srcId="{FEB3984C-D60D-4401-AF8C-855252C9A3AE}" destId="{18B27AFF-E03B-484D-8D85-BFE0497DA14D}" srcOrd="0" destOrd="0" presId="urn:microsoft.com/office/officeart/2005/8/layout/hierarchy3"/>
    <dgm:cxn modelId="{E7450829-7A60-4320-A475-7BBA7E5A485B}" type="presOf" srcId="{85D6A381-8BBA-4265-8E3A-871A1422A0B7}" destId="{3C378AD0-1CA5-4F60-BEF6-0B7133964351}" srcOrd="0" destOrd="0" presId="urn:microsoft.com/office/officeart/2005/8/layout/hierarchy3"/>
    <dgm:cxn modelId="{1C57082C-8FCD-47AA-80BC-4893CE7169B6}" type="presOf" srcId="{8323E581-429E-4AAA-9F3B-F0A67E4B7D28}" destId="{9003B7CA-CE84-4453-8EC7-3C74E0BD8096}" srcOrd="0" destOrd="0" presId="urn:microsoft.com/office/officeart/2005/8/layout/hierarchy3"/>
    <dgm:cxn modelId="{9288082D-D68C-49F6-B2BC-EB4DBE4EEDED}" type="presOf" srcId="{3CFBE809-2AFB-4282-BA70-97DCD95D2223}" destId="{83FC2609-CD3E-4DDE-94AD-A0BD077DBAF5}" srcOrd="0" destOrd="0" presId="urn:microsoft.com/office/officeart/2005/8/layout/hierarchy3"/>
    <dgm:cxn modelId="{DD7E3536-879B-418A-9565-11ECA3D1A6DB}" type="presOf" srcId="{769BD287-FCFD-4880-B81B-E38E1353C606}" destId="{4C6FA95C-F2C9-401C-A4CD-0E8454DB88B9}" srcOrd="0" destOrd="0" presId="urn:microsoft.com/office/officeart/2005/8/layout/hierarchy3"/>
    <dgm:cxn modelId="{5007253B-251A-45B0-9CB8-AE477A2D81FA}" type="presOf" srcId="{1CB85BCC-B530-4386-9002-F708D748480B}" destId="{92655BBF-93D5-44B7-B990-52B5066D78B5}" srcOrd="0" destOrd="0" presId="urn:microsoft.com/office/officeart/2005/8/layout/hierarchy3"/>
    <dgm:cxn modelId="{09AF143C-FE97-49C2-AFD1-C6AAC5E97E66}" type="presOf" srcId="{58363F4C-7D5E-4B8D-91A3-49EF138BC3DF}" destId="{60B04726-17CA-43C2-8A86-600ACEFFD0F3}" srcOrd="1" destOrd="0" presId="urn:microsoft.com/office/officeart/2005/8/layout/hierarchy3"/>
    <dgm:cxn modelId="{DF1CFD3D-D9D1-4F62-A72B-A2132DD8CBA4}" type="presOf" srcId="{142C749E-5F64-48FD-A316-09F6191DCECE}" destId="{9699C32E-1C6F-43BC-AE0A-6413641B08D7}" srcOrd="0" destOrd="0" presId="urn:microsoft.com/office/officeart/2005/8/layout/hierarchy3"/>
    <dgm:cxn modelId="{6C83B73F-52BD-4AD2-BC5F-FE45465A0597}" type="presOf" srcId="{6BDB496B-DA9A-41F6-AB63-986E178D3EC8}" destId="{266986BC-F7A2-4EB0-AEC1-6E14B0A37641}" srcOrd="0" destOrd="0" presId="urn:microsoft.com/office/officeart/2005/8/layout/hierarchy3"/>
    <dgm:cxn modelId="{62530864-96EA-45DA-9168-31D8257277D3}" type="presOf" srcId="{B0372C91-2B47-4718-8FD5-3CDDE10E4F5E}" destId="{481E5998-14BF-470A-93CE-C56BDAAB8B74}" srcOrd="0" destOrd="0" presId="urn:microsoft.com/office/officeart/2005/8/layout/hierarchy3"/>
    <dgm:cxn modelId="{4FAEEF64-609F-4781-9477-DA466CBF6694}" type="presOf" srcId="{FF188929-B89D-43F7-AEC6-8472EA203BBF}" destId="{A3C59C0E-0504-45BA-B2DE-8842598D11D3}" srcOrd="0" destOrd="0" presId="urn:microsoft.com/office/officeart/2005/8/layout/hierarchy3"/>
    <dgm:cxn modelId="{E1B93166-13E6-4791-A5B6-54A27638DB1C}" type="presOf" srcId="{38613C41-DDD4-4B24-A05C-06FFD9003E2A}" destId="{3A6C2A6D-1A74-4849-9685-A4B1016C17CB}" srcOrd="0" destOrd="0" presId="urn:microsoft.com/office/officeart/2005/8/layout/hierarchy3"/>
    <dgm:cxn modelId="{91727446-D458-447D-B719-AC214CC762E8}" type="presOf" srcId="{08249694-830D-4D56-B0E5-2ECC978FEC6F}" destId="{2D8250C9-0C37-4B9D-A4D7-E5AE5A5EE523}" srcOrd="0" destOrd="0" presId="urn:microsoft.com/office/officeart/2005/8/layout/hierarchy3"/>
    <dgm:cxn modelId="{527FE568-C91B-4B6B-8CC2-206FF68FED68}" type="presOf" srcId="{C13ECB35-FF53-42D3-B78B-2892E2FE274B}" destId="{A8F1E7CE-BC66-43E1-B350-1D08644F3BB3}" srcOrd="0" destOrd="0" presId="urn:microsoft.com/office/officeart/2005/8/layout/hierarchy3"/>
    <dgm:cxn modelId="{C27A6A6F-C03A-41B5-8202-A2D609506344}" srcId="{46794FC4-A80E-46D8-996F-153CCFD7606D}" destId="{250CF8A2-0E1C-480F-82DA-BC656FF114E5}" srcOrd="1" destOrd="0" parTransId="{1CE17E67-55E7-4B23-AB22-A28C4E4E6150}" sibTransId="{1B2810D1-72F1-45DA-825A-6FE757A92F8F}"/>
    <dgm:cxn modelId="{A1176B71-69E7-4B59-9AE4-E980C8C3A8C9}" type="presOf" srcId="{65CF6DC7-72FC-4E31-8454-3D77245AA95D}" destId="{59F9F28D-29E8-4027-947A-B8B61E66C24E}" srcOrd="0" destOrd="0" presId="urn:microsoft.com/office/officeart/2005/8/layout/hierarchy3"/>
    <dgm:cxn modelId="{621FC371-3227-47AE-8000-907A6947C515}" type="presOf" srcId="{424B6920-EFB2-4ACF-9F4E-FA9DFDE914F4}" destId="{6BE4F37E-0158-49D9-B3E0-436F6976E761}" srcOrd="0" destOrd="0" presId="urn:microsoft.com/office/officeart/2005/8/layout/hierarchy3"/>
    <dgm:cxn modelId="{84E6B655-2C4B-466C-9D1C-FB59BB688F92}" srcId="{08249694-830D-4D56-B0E5-2ECC978FEC6F}" destId="{8D0E68B3-35E2-44B3-9714-579DEA0EF792}" srcOrd="5" destOrd="0" parTransId="{21243ECD-346E-415B-8F01-D7F336423828}" sibTransId="{5AF7D192-BD0F-4416-8ABE-31C4A298B5AA}"/>
    <dgm:cxn modelId="{2B4AE157-CA3A-472F-B0CF-BE9F529A9F77}" type="presOf" srcId="{46794FC4-A80E-46D8-996F-153CCFD7606D}" destId="{C5BE2218-5FF6-4C84-B6B2-DEABD32D0315}" srcOrd="1" destOrd="0" presId="urn:microsoft.com/office/officeart/2005/8/layout/hierarchy3"/>
    <dgm:cxn modelId="{2B6FF357-E03F-451C-B6A6-1E35A6D531DF}" type="presOf" srcId="{A3617703-F156-42E2-90B4-F55FA72A678C}" destId="{1A3F7AB5-5357-4008-83C1-F5A17790B720}" srcOrd="1" destOrd="0" presId="urn:microsoft.com/office/officeart/2005/8/layout/hierarchy3"/>
    <dgm:cxn modelId="{D314965A-852B-41BF-9A06-BD33AABE5305}" type="presOf" srcId="{8D0E68B3-35E2-44B3-9714-579DEA0EF792}" destId="{D0FAC436-B069-43A3-812B-A161CDA0D1D1}" srcOrd="0" destOrd="0" presId="urn:microsoft.com/office/officeart/2005/8/layout/hierarchy3"/>
    <dgm:cxn modelId="{0A81FE81-7DC6-4043-AC60-F936CDDFD976}" srcId="{424B6920-EFB2-4ACF-9F4E-FA9DFDE914F4}" destId="{38613C41-DDD4-4B24-A05C-06FFD9003E2A}" srcOrd="0" destOrd="0" parTransId="{7BCDDB95-5555-4937-A093-637209EB1F9A}" sibTransId="{C6BB92CC-2ACE-4F47-A0BA-128610CA4773}"/>
    <dgm:cxn modelId="{C3BD6582-6E24-41CE-8074-9611A4F2F0D9}" srcId="{D8A82957-3DDE-4CF4-B0FB-3AF5EC2F9E80}" destId="{4517C970-C955-4E9E-9F00-76C7B8238F62}" srcOrd="4" destOrd="0" parTransId="{769BD287-FCFD-4880-B81B-E38E1353C606}" sibTransId="{DA79E906-365A-4861-A6B0-A53EB1676318}"/>
    <dgm:cxn modelId="{5A76E188-3602-48C1-9B69-8C6B17E9A341}" type="presOf" srcId="{D5A5C40A-8A58-4DFB-AFFD-F865CF40417B}" destId="{845DA434-C49C-4895-9441-E628CEA06A0C}" srcOrd="0" destOrd="0" presId="urn:microsoft.com/office/officeart/2005/8/layout/hierarchy3"/>
    <dgm:cxn modelId="{A64E7E8F-B082-4452-9B05-8AE97E16C182}" type="presOf" srcId="{58858531-1889-484F-A114-320120BE3067}" destId="{1DB2B310-6042-4CAF-8CBA-3D53426F3BC6}" srcOrd="0" destOrd="0" presId="urn:microsoft.com/office/officeart/2005/8/layout/hierarchy3"/>
    <dgm:cxn modelId="{BFA25490-8016-489E-96BD-97582B5F837E}" srcId="{58363F4C-7D5E-4B8D-91A3-49EF138BC3DF}" destId="{2F65F0A9-0985-439B-BB84-CB85821D9070}" srcOrd="0" destOrd="0" parTransId="{1CB85BCC-B530-4386-9002-F708D748480B}" sibTransId="{D3B6083F-33BC-483A-AA45-5C569CFA4EB8}"/>
    <dgm:cxn modelId="{27A4B594-5354-4A9F-BE57-04FA13B37CB1}" type="presOf" srcId="{47B9DA6C-E293-4D49-8FEE-E0DBBB579A0D}" destId="{ED6F94C0-4FF1-470D-BC32-7F3DE9D081E1}" srcOrd="0" destOrd="0" presId="urn:microsoft.com/office/officeart/2005/8/layout/hierarchy3"/>
    <dgm:cxn modelId="{0E3C0E9B-90EC-40F3-88DB-668C45A5F297}" type="presOf" srcId="{A3617703-F156-42E2-90B4-F55FA72A678C}" destId="{E8E45A31-C017-48C4-940D-232A6F894A7D}" srcOrd="0" destOrd="0" presId="urn:microsoft.com/office/officeart/2005/8/layout/hierarchy3"/>
    <dgm:cxn modelId="{FA0D5E9E-1FE1-4A97-BE6E-773F9EEE8F53}" srcId="{46794FC4-A80E-46D8-996F-153CCFD7606D}" destId="{6BDB496B-DA9A-41F6-AB63-986E178D3EC8}" srcOrd="0" destOrd="0" parTransId="{DADDFFA4-77DD-4456-BF0B-CC319F927280}" sibTransId="{BBA52FB3-9BB8-4778-8FF8-A52E073ACE88}"/>
    <dgm:cxn modelId="{F7BD8FA0-51F2-47ED-99C2-B56FF452EDA9}" type="presOf" srcId="{DADDFFA4-77DD-4456-BF0B-CC319F927280}" destId="{70CED1EA-98E3-41C5-8FEF-EDF94DCC0905}" srcOrd="0" destOrd="0" presId="urn:microsoft.com/office/officeart/2005/8/layout/hierarchy3"/>
    <dgm:cxn modelId="{4F2AA5A1-8B2D-44CB-BC69-C89158A2A52F}" type="presOf" srcId="{4675AE5C-9E59-423E-BBCA-284D025B6CFD}" destId="{6D81FF67-EC81-4FC0-ADB3-BA0BF6F48480}" srcOrd="0" destOrd="0" presId="urn:microsoft.com/office/officeart/2005/8/layout/hierarchy3"/>
    <dgm:cxn modelId="{D84A86A2-FE80-462B-AADF-C26F4089CC92}" srcId="{08249694-830D-4D56-B0E5-2ECC978FEC6F}" destId="{58363F4C-7D5E-4B8D-91A3-49EF138BC3DF}" srcOrd="2" destOrd="0" parTransId="{CFE31C70-201A-43C8-A313-ADF92E05B72C}" sibTransId="{1150B4F8-71BA-4A27-AD6F-302CAAC48974}"/>
    <dgm:cxn modelId="{258946A4-A953-4935-BEB9-18AC7BB04B6D}" srcId="{46794FC4-A80E-46D8-996F-153CCFD7606D}" destId="{79451D5D-D58B-45EC-99DB-72081D1DFB9E}" srcOrd="4" destOrd="0" parTransId="{B0372C91-2B47-4718-8FD5-3CDDE10E4F5E}" sibTransId="{564279A8-36BD-4429-97B4-5A7DF6368F0C}"/>
    <dgm:cxn modelId="{8E91F8A4-F02B-4CC2-83F9-1DECDED34283}" srcId="{08249694-830D-4D56-B0E5-2ECC978FEC6F}" destId="{A3617703-F156-42E2-90B4-F55FA72A678C}" srcOrd="0" destOrd="0" parTransId="{DB7BD3E9-88A2-4ECD-8462-B99D816EE91F}" sibTransId="{F27E4B80-35D2-4D86-B13E-C942E61458F7}"/>
    <dgm:cxn modelId="{522B6FA9-4FF5-4BA4-AD7D-23AF58E7AD05}" type="presOf" srcId="{250CF8A2-0E1C-480F-82DA-BC656FF114E5}" destId="{7221BE9D-7F1A-4330-8722-78A0586088C2}" srcOrd="0" destOrd="0" presId="urn:microsoft.com/office/officeart/2005/8/layout/hierarchy3"/>
    <dgm:cxn modelId="{0C8169AB-E040-4C04-8B72-9475EE0891F2}" srcId="{D8A82957-3DDE-4CF4-B0FB-3AF5EC2F9E80}" destId="{F5138DF3-7AFB-40E8-BBD0-32A5F5814660}" srcOrd="1" destOrd="0" parTransId="{D5A5C40A-8A58-4DFB-AFFD-F865CF40417B}" sibTransId="{B478D1CD-0937-4CDA-A585-41CD303CC231}"/>
    <dgm:cxn modelId="{900D70AD-30A2-432B-8DBC-14675BD66079}" srcId="{08249694-830D-4D56-B0E5-2ECC978FEC6F}" destId="{424B6920-EFB2-4ACF-9F4E-FA9DFDE914F4}" srcOrd="3" destOrd="0" parTransId="{EE29AF0F-EC50-4BC8-8470-B8227B99DF89}" sibTransId="{4381E9C9-736B-4829-A84E-0CE106F143DB}"/>
    <dgm:cxn modelId="{60A569B3-47ED-4718-806C-2565B173B716}" type="presOf" srcId="{6EE98457-9FFE-4B82-9F61-3119DD8119B4}" destId="{5A9A3792-71E5-4BED-9BEA-54D466E9852A}" srcOrd="0" destOrd="0" presId="urn:microsoft.com/office/officeart/2005/8/layout/hierarchy3"/>
    <dgm:cxn modelId="{6C8FE0B8-14DA-4F31-96E9-C9D828380255}" type="presOf" srcId="{1CE17E67-55E7-4B23-AB22-A28C4E4E6150}" destId="{0FFDC251-5EBB-4130-9411-BB50D4A70DAC}" srcOrd="0" destOrd="0" presId="urn:microsoft.com/office/officeart/2005/8/layout/hierarchy3"/>
    <dgm:cxn modelId="{2748FDBF-8BFC-4BEB-B205-FB6ED6AD13D3}" type="presOf" srcId="{46794FC4-A80E-46D8-996F-153CCFD7606D}" destId="{59121240-3E43-41AB-A401-F68B591867E8}" srcOrd="0" destOrd="0" presId="urn:microsoft.com/office/officeart/2005/8/layout/hierarchy3"/>
    <dgm:cxn modelId="{F7F2E3C4-E72F-4B52-8A08-C995DE60C1ED}" type="presOf" srcId="{79451D5D-D58B-45EC-99DB-72081D1DFB9E}" destId="{19CC7990-AF7E-4E9D-85D2-937156C3BBD4}" srcOrd="0" destOrd="0" presId="urn:microsoft.com/office/officeart/2005/8/layout/hierarchy3"/>
    <dgm:cxn modelId="{A9587DC5-4D55-41FE-8FA3-CCF0CB326346}" type="presOf" srcId="{8D0E68B3-35E2-44B3-9714-579DEA0EF792}" destId="{46A8AE3F-91B1-443B-B5AE-276334EA3A04}" srcOrd="1" destOrd="0" presId="urn:microsoft.com/office/officeart/2005/8/layout/hierarchy3"/>
    <dgm:cxn modelId="{6699DEC9-CB7A-4361-99A4-9B2761F10E56}" srcId="{46794FC4-A80E-46D8-996F-153CCFD7606D}" destId="{02D1A705-12F2-4464-ABED-3B3FC26B4273}" srcOrd="5" destOrd="0" parTransId="{8323E581-429E-4AAA-9F3B-F0A67E4B7D28}" sibTransId="{14F4377D-BE54-41FF-AEA5-89341D918BB3}"/>
    <dgm:cxn modelId="{99877DCA-28DB-4B40-A392-74E6B33C5DC6}" type="presOf" srcId="{E9861B78-DEB0-48FD-B3CA-A3BBD4016104}" destId="{D0DBFDFE-8233-4C55-9847-CB5CFC1777E9}" srcOrd="0" destOrd="0" presId="urn:microsoft.com/office/officeart/2005/8/layout/hierarchy3"/>
    <dgm:cxn modelId="{4981B0CA-FFEA-4BD0-AF7E-B4CF14333B85}" type="presOf" srcId="{424B6920-EFB2-4ACF-9F4E-FA9DFDE914F4}" destId="{B01EC080-11BD-4FEF-97AA-90EBD319B15B}" srcOrd="1" destOrd="0" presId="urn:microsoft.com/office/officeart/2005/8/layout/hierarchy3"/>
    <dgm:cxn modelId="{802138CD-90E9-4CCA-A386-EBBC6A5D9558}" srcId="{08249694-830D-4D56-B0E5-2ECC978FEC6F}" destId="{46794FC4-A80E-46D8-996F-153CCFD7606D}" srcOrd="4" destOrd="0" parTransId="{02C33450-BF62-4DA9-96F4-33DC089C6C71}" sibTransId="{6D70DF62-A10A-4572-A62C-C53966BD7411}"/>
    <dgm:cxn modelId="{B27D6ED0-D1F8-4756-B27E-E09DE6DE7CA0}" srcId="{8D0E68B3-35E2-44B3-9714-579DEA0EF792}" destId="{47B9DA6C-E293-4D49-8FEE-E0DBBB579A0D}" srcOrd="0" destOrd="0" parTransId="{CC181990-26D1-4EB1-A1D7-63D5E15AA689}" sibTransId="{08E966F8-6935-46B9-8EEA-17E4C5997D82}"/>
    <dgm:cxn modelId="{01E790D4-54CE-4653-A1AB-54AE3B15DED7}" type="presOf" srcId="{D8A82957-3DDE-4CF4-B0FB-3AF5EC2F9E80}" destId="{D773B14A-1502-4859-A8F0-521C4A545B8E}" srcOrd="0" destOrd="0" presId="urn:microsoft.com/office/officeart/2005/8/layout/hierarchy3"/>
    <dgm:cxn modelId="{8276C4DC-5FB3-466A-8533-FF666A619DEB}" type="presOf" srcId="{4517C970-C955-4E9E-9F00-76C7B8238F62}" destId="{88B403B1-ABF6-404C-A8E7-C9787BA8F723}" srcOrd="0" destOrd="0" presId="urn:microsoft.com/office/officeart/2005/8/layout/hierarchy3"/>
    <dgm:cxn modelId="{C4BBC1E0-9426-4D5E-8E76-A79EBE55CDEA}" type="presOf" srcId="{4D19B19C-A75C-4331-AD93-6EEDE9D9C687}" destId="{37A5FC9F-EBDF-4B03-A3EE-7D528B60FB47}" srcOrd="0" destOrd="0" presId="urn:microsoft.com/office/officeart/2005/8/layout/hierarchy3"/>
    <dgm:cxn modelId="{F28913E5-58A1-4B11-A0C7-78E4DF06A73E}" srcId="{46794FC4-A80E-46D8-996F-153CCFD7606D}" destId="{58858531-1889-484F-A114-320120BE3067}" srcOrd="2" destOrd="0" parTransId="{FEB3984C-D60D-4401-AF8C-855252C9A3AE}" sibTransId="{836C4876-AD07-4455-A1AD-25782235010F}"/>
    <dgm:cxn modelId="{434CCAE5-4D60-4135-9C21-0ADEA10168EA}" type="presOf" srcId="{D8A82957-3DDE-4CF4-B0FB-3AF5EC2F9E80}" destId="{A51D5A06-4203-4C41-98EA-E8E747570F21}" srcOrd="1" destOrd="0" presId="urn:microsoft.com/office/officeart/2005/8/layout/hierarchy3"/>
    <dgm:cxn modelId="{B12DB3E7-A384-4A25-8BB2-FA3C8F1D845F}" srcId="{08249694-830D-4D56-B0E5-2ECC978FEC6F}" destId="{D8A82957-3DDE-4CF4-B0FB-3AF5EC2F9E80}" srcOrd="1" destOrd="0" parTransId="{AB44643A-D8A2-42FC-AAD3-3526687E79A1}" sibTransId="{0E917A4D-7747-45CD-B716-71CD94C0C51A}"/>
    <dgm:cxn modelId="{433CE2E9-F91E-4404-97C1-EEFE2C173B03}" type="presOf" srcId="{C59C9FE1-3E3C-4224-B76F-5FB6D16CB3D3}" destId="{01359481-B6D1-4834-9877-B0C659E8EAB6}" srcOrd="0" destOrd="0" presId="urn:microsoft.com/office/officeart/2005/8/layout/hierarchy3"/>
    <dgm:cxn modelId="{86DCB4F2-73BF-4A2F-A60B-2C4047A5D4D9}" srcId="{D8A82957-3DDE-4CF4-B0FB-3AF5EC2F9E80}" destId="{4675AE5C-9E59-423E-BBCA-284D025B6CFD}" srcOrd="3" destOrd="0" parTransId="{C59C9FE1-3E3C-4224-B76F-5FB6D16CB3D3}" sibTransId="{3C0B0A29-DBEA-401F-8AF5-80EEB63B6031}"/>
    <dgm:cxn modelId="{B103EEF7-CA72-45D3-BB91-63B701C6B042}" srcId="{D8A82957-3DDE-4CF4-B0FB-3AF5EC2F9E80}" destId="{65CF6DC7-72FC-4E31-8454-3D77245AA95D}" srcOrd="2" destOrd="0" parTransId="{C13ECB35-FF53-42D3-B78B-2892E2FE274B}" sibTransId="{12A9E73F-CA63-486D-82A5-D6A73CB5192D}"/>
    <dgm:cxn modelId="{2063E3FA-7BC2-4241-B20C-CA1A29E17253}" type="presOf" srcId="{58363F4C-7D5E-4B8D-91A3-49EF138BC3DF}" destId="{D6785178-3BE8-4C98-BAD4-CCB8561B8BE6}" srcOrd="0" destOrd="0" presId="urn:microsoft.com/office/officeart/2005/8/layout/hierarchy3"/>
    <dgm:cxn modelId="{5F3055FC-D95E-41CC-A80A-F46B567438E7}" type="presOf" srcId="{7BCDDB95-5555-4937-A093-637209EB1F9A}" destId="{6CB43F14-29D6-4EF6-8ABB-FBAC5EB83559}" srcOrd="0" destOrd="0" presId="urn:microsoft.com/office/officeart/2005/8/layout/hierarchy3"/>
    <dgm:cxn modelId="{25ADAEFC-FFEE-479F-B703-D00092E2383A}" type="presOf" srcId="{60A9A024-AC88-4C0E-8BB0-51BCBCF1DBAE}" destId="{BD7601FE-1338-4710-A966-352D9BB6481E}" srcOrd="0" destOrd="0" presId="urn:microsoft.com/office/officeart/2005/8/layout/hierarchy3"/>
    <dgm:cxn modelId="{748B3BFE-85BB-45FF-B91D-91447E8EA5C6}" srcId="{D8A82957-3DDE-4CF4-B0FB-3AF5EC2F9E80}" destId="{6EE98457-9FFE-4B82-9F61-3119DD8119B4}" srcOrd="0" destOrd="0" parTransId="{85D6A381-8BBA-4265-8E3A-871A1422A0B7}" sibTransId="{B0F3705E-8C84-4870-AB04-4DC0500E80C7}"/>
    <dgm:cxn modelId="{C483A94F-21DB-423B-9761-78E2FEB744C7}" type="presParOf" srcId="{2D8250C9-0C37-4B9D-A4D7-E5AE5A5EE523}" destId="{FD2EC8B9-6C86-4FB8-B005-B997C786C0BD}" srcOrd="0" destOrd="0" presId="urn:microsoft.com/office/officeart/2005/8/layout/hierarchy3"/>
    <dgm:cxn modelId="{BA70BA55-1E2E-405F-9443-21C6FFF65AA4}" type="presParOf" srcId="{FD2EC8B9-6C86-4FB8-B005-B997C786C0BD}" destId="{DCEC8A0E-842C-4010-9693-63226F3BE451}" srcOrd="0" destOrd="0" presId="urn:microsoft.com/office/officeart/2005/8/layout/hierarchy3"/>
    <dgm:cxn modelId="{EF349324-7587-43AC-BA6D-654504773B22}" type="presParOf" srcId="{DCEC8A0E-842C-4010-9693-63226F3BE451}" destId="{E8E45A31-C017-48C4-940D-232A6F894A7D}" srcOrd="0" destOrd="0" presId="urn:microsoft.com/office/officeart/2005/8/layout/hierarchy3"/>
    <dgm:cxn modelId="{20AB7774-EDAA-49FB-8C3F-1CBD626A2E81}" type="presParOf" srcId="{DCEC8A0E-842C-4010-9693-63226F3BE451}" destId="{1A3F7AB5-5357-4008-83C1-F5A17790B720}" srcOrd="1" destOrd="0" presId="urn:microsoft.com/office/officeart/2005/8/layout/hierarchy3"/>
    <dgm:cxn modelId="{0F9472FA-EF50-4F14-A876-EB22C57D7C91}" type="presParOf" srcId="{FD2EC8B9-6C86-4FB8-B005-B997C786C0BD}" destId="{01528E34-0E71-4D5F-8449-9EF1B0089EF7}" srcOrd="1" destOrd="0" presId="urn:microsoft.com/office/officeart/2005/8/layout/hierarchy3"/>
    <dgm:cxn modelId="{BC942B91-6DA7-4351-A22D-0D41964D9CAA}" type="presParOf" srcId="{01528E34-0E71-4D5F-8449-9EF1B0089EF7}" destId="{A3C59C0E-0504-45BA-B2DE-8842598D11D3}" srcOrd="0" destOrd="0" presId="urn:microsoft.com/office/officeart/2005/8/layout/hierarchy3"/>
    <dgm:cxn modelId="{22BC26EB-36FC-4E5B-9FC1-B705CF9ACE49}" type="presParOf" srcId="{01528E34-0E71-4D5F-8449-9EF1B0089EF7}" destId="{83FC2609-CD3E-4DDE-94AD-A0BD077DBAF5}" srcOrd="1" destOrd="0" presId="urn:microsoft.com/office/officeart/2005/8/layout/hierarchy3"/>
    <dgm:cxn modelId="{E8750BC3-3DE1-409F-A3AA-273C36B241B2}" type="presParOf" srcId="{2D8250C9-0C37-4B9D-A4D7-E5AE5A5EE523}" destId="{676EC040-4747-4268-BC08-8FE0584B6DFB}" srcOrd="1" destOrd="0" presId="urn:microsoft.com/office/officeart/2005/8/layout/hierarchy3"/>
    <dgm:cxn modelId="{F3E9E0E6-F0D7-432A-90ED-83C9912409A8}" type="presParOf" srcId="{676EC040-4747-4268-BC08-8FE0584B6DFB}" destId="{B9782307-B23F-4509-99B4-2442E2C8BD56}" srcOrd="0" destOrd="0" presId="urn:microsoft.com/office/officeart/2005/8/layout/hierarchy3"/>
    <dgm:cxn modelId="{34DF4919-82F2-4EDF-9311-839166B26D2A}" type="presParOf" srcId="{B9782307-B23F-4509-99B4-2442E2C8BD56}" destId="{D773B14A-1502-4859-A8F0-521C4A545B8E}" srcOrd="0" destOrd="0" presId="urn:microsoft.com/office/officeart/2005/8/layout/hierarchy3"/>
    <dgm:cxn modelId="{A4628DF6-15ED-4D6E-8CCD-859DA46D890F}" type="presParOf" srcId="{B9782307-B23F-4509-99B4-2442E2C8BD56}" destId="{A51D5A06-4203-4C41-98EA-E8E747570F21}" srcOrd="1" destOrd="0" presId="urn:microsoft.com/office/officeart/2005/8/layout/hierarchy3"/>
    <dgm:cxn modelId="{702D954E-EF99-495D-83EA-D65AB3418738}" type="presParOf" srcId="{676EC040-4747-4268-BC08-8FE0584B6DFB}" destId="{9CAB12CA-76AF-471F-B08E-170E052765F7}" srcOrd="1" destOrd="0" presId="urn:microsoft.com/office/officeart/2005/8/layout/hierarchy3"/>
    <dgm:cxn modelId="{F99CD596-7A08-4729-8644-D4BBBE275EBE}" type="presParOf" srcId="{9CAB12CA-76AF-471F-B08E-170E052765F7}" destId="{3C378AD0-1CA5-4F60-BEF6-0B7133964351}" srcOrd="0" destOrd="0" presId="urn:microsoft.com/office/officeart/2005/8/layout/hierarchy3"/>
    <dgm:cxn modelId="{04481617-0F9E-4C8F-968F-0255CD7D434E}" type="presParOf" srcId="{9CAB12CA-76AF-471F-B08E-170E052765F7}" destId="{5A9A3792-71E5-4BED-9BEA-54D466E9852A}" srcOrd="1" destOrd="0" presId="urn:microsoft.com/office/officeart/2005/8/layout/hierarchy3"/>
    <dgm:cxn modelId="{DF47FD40-225C-43D3-AAA4-A8C3F946E902}" type="presParOf" srcId="{9CAB12CA-76AF-471F-B08E-170E052765F7}" destId="{845DA434-C49C-4895-9441-E628CEA06A0C}" srcOrd="2" destOrd="0" presId="urn:microsoft.com/office/officeart/2005/8/layout/hierarchy3"/>
    <dgm:cxn modelId="{7FE973B9-0D7A-4DAB-BACC-99E39961263C}" type="presParOf" srcId="{9CAB12CA-76AF-471F-B08E-170E052765F7}" destId="{382E4818-3849-4A0E-BA0A-44DC9F0E2355}" srcOrd="3" destOrd="0" presId="urn:microsoft.com/office/officeart/2005/8/layout/hierarchy3"/>
    <dgm:cxn modelId="{6690C680-8106-45DC-B2DE-C8DD9FD7DB7E}" type="presParOf" srcId="{9CAB12CA-76AF-471F-B08E-170E052765F7}" destId="{A8F1E7CE-BC66-43E1-B350-1D08644F3BB3}" srcOrd="4" destOrd="0" presId="urn:microsoft.com/office/officeart/2005/8/layout/hierarchy3"/>
    <dgm:cxn modelId="{4255410C-6898-402B-A306-E78FBECC7362}" type="presParOf" srcId="{9CAB12CA-76AF-471F-B08E-170E052765F7}" destId="{59F9F28D-29E8-4027-947A-B8B61E66C24E}" srcOrd="5" destOrd="0" presId="urn:microsoft.com/office/officeart/2005/8/layout/hierarchy3"/>
    <dgm:cxn modelId="{D435E8F7-FE1A-4A45-9D1A-E8C467B505C2}" type="presParOf" srcId="{9CAB12CA-76AF-471F-B08E-170E052765F7}" destId="{01359481-B6D1-4834-9877-B0C659E8EAB6}" srcOrd="6" destOrd="0" presId="urn:microsoft.com/office/officeart/2005/8/layout/hierarchy3"/>
    <dgm:cxn modelId="{85D5B050-9793-41F4-8454-0E01CDA12785}" type="presParOf" srcId="{9CAB12CA-76AF-471F-B08E-170E052765F7}" destId="{6D81FF67-EC81-4FC0-ADB3-BA0BF6F48480}" srcOrd="7" destOrd="0" presId="urn:microsoft.com/office/officeart/2005/8/layout/hierarchy3"/>
    <dgm:cxn modelId="{CBAEB92C-441D-4F8D-B1F2-0D041457C8B9}" type="presParOf" srcId="{9CAB12CA-76AF-471F-B08E-170E052765F7}" destId="{4C6FA95C-F2C9-401C-A4CD-0E8454DB88B9}" srcOrd="8" destOrd="0" presId="urn:microsoft.com/office/officeart/2005/8/layout/hierarchy3"/>
    <dgm:cxn modelId="{68F62F15-A327-4EA1-9A9E-6D135D2B5015}" type="presParOf" srcId="{9CAB12CA-76AF-471F-B08E-170E052765F7}" destId="{88B403B1-ABF6-404C-A8E7-C9787BA8F723}" srcOrd="9" destOrd="0" presId="urn:microsoft.com/office/officeart/2005/8/layout/hierarchy3"/>
    <dgm:cxn modelId="{9C847287-0219-424E-90ED-BF71825E050E}" type="presParOf" srcId="{2D8250C9-0C37-4B9D-A4D7-E5AE5A5EE523}" destId="{2904289D-CBF0-4224-91A2-C17340D3155C}" srcOrd="2" destOrd="0" presId="urn:microsoft.com/office/officeart/2005/8/layout/hierarchy3"/>
    <dgm:cxn modelId="{9D785DD3-5877-4999-A8A0-CCC2C2112104}" type="presParOf" srcId="{2904289D-CBF0-4224-91A2-C17340D3155C}" destId="{2D84AED2-F5D1-48D6-A533-8E460795CA90}" srcOrd="0" destOrd="0" presId="urn:microsoft.com/office/officeart/2005/8/layout/hierarchy3"/>
    <dgm:cxn modelId="{8E38E924-7952-47EE-B3D7-EDE556F4467F}" type="presParOf" srcId="{2D84AED2-F5D1-48D6-A533-8E460795CA90}" destId="{D6785178-3BE8-4C98-BAD4-CCB8561B8BE6}" srcOrd="0" destOrd="0" presId="urn:microsoft.com/office/officeart/2005/8/layout/hierarchy3"/>
    <dgm:cxn modelId="{E54495B7-5F3F-481D-B0E9-D69B787FFC62}" type="presParOf" srcId="{2D84AED2-F5D1-48D6-A533-8E460795CA90}" destId="{60B04726-17CA-43C2-8A86-600ACEFFD0F3}" srcOrd="1" destOrd="0" presId="urn:microsoft.com/office/officeart/2005/8/layout/hierarchy3"/>
    <dgm:cxn modelId="{B0408DA4-00FB-444D-8008-54D02F99A736}" type="presParOf" srcId="{2904289D-CBF0-4224-91A2-C17340D3155C}" destId="{2E92EA36-BE6B-49C5-926B-8ED5309503A7}" srcOrd="1" destOrd="0" presId="urn:microsoft.com/office/officeart/2005/8/layout/hierarchy3"/>
    <dgm:cxn modelId="{842D584D-53AE-4F65-87AE-A0A08662D552}" type="presParOf" srcId="{2E92EA36-BE6B-49C5-926B-8ED5309503A7}" destId="{92655BBF-93D5-44B7-B990-52B5066D78B5}" srcOrd="0" destOrd="0" presId="urn:microsoft.com/office/officeart/2005/8/layout/hierarchy3"/>
    <dgm:cxn modelId="{872D9ABF-53BE-40D4-846E-AD308FD480FB}" type="presParOf" srcId="{2E92EA36-BE6B-49C5-926B-8ED5309503A7}" destId="{FB411E4A-8623-419A-98B4-1BEDE72DF5C1}" srcOrd="1" destOrd="0" presId="urn:microsoft.com/office/officeart/2005/8/layout/hierarchy3"/>
    <dgm:cxn modelId="{255E026F-007C-4482-BB1F-DC34D0816BC2}" type="presParOf" srcId="{2E92EA36-BE6B-49C5-926B-8ED5309503A7}" destId="{9699C32E-1C6F-43BC-AE0A-6413641B08D7}" srcOrd="2" destOrd="0" presId="urn:microsoft.com/office/officeart/2005/8/layout/hierarchy3"/>
    <dgm:cxn modelId="{49908A18-5AF2-4BD9-AEDA-F6109D884E66}" type="presParOf" srcId="{2E92EA36-BE6B-49C5-926B-8ED5309503A7}" destId="{BD7601FE-1338-4710-A966-352D9BB6481E}" srcOrd="3" destOrd="0" presId="urn:microsoft.com/office/officeart/2005/8/layout/hierarchy3"/>
    <dgm:cxn modelId="{3BAEB11D-2684-4469-82BD-E4082CB10140}" type="presParOf" srcId="{2D8250C9-0C37-4B9D-A4D7-E5AE5A5EE523}" destId="{190F1FEC-BDE3-467D-954E-E62F2C2A70D6}" srcOrd="3" destOrd="0" presId="urn:microsoft.com/office/officeart/2005/8/layout/hierarchy3"/>
    <dgm:cxn modelId="{9E4B2C5A-D4FF-44FA-87FF-424405F75C6E}" type="presParOf" srcId="{190F1FEC-BDE3-467D-954E-E62F2C2A70D6}" destId="{8AF838FC-7FB9-4339-B5DB-0FE89935F5F9}" srcOrd="0" destOrd="0" presId="urn:microsoft.com/office/officeart/2005/8/layout/hierarchy3"/>
    <dgm:cxn modelId="{B8A2629B-4890-44AF-A3E1-C19006CEFFDD}" type="presParOf" srcId="{8AF838FC-7FB9-4339-B5DB-0FE89935F5F9}" destId="{6BE4F37E-0158-49D9-B3E0-436F6976E761}" srcOrd="0" destOrd="0" presId="urn:microsoft.com/office/officeart/2005/8/layout/hierarchy3"/>
    <dgm:cxn modelId="{30024774-2C87-459B-933B-D7A1A0CCD2C9}" type="presParOf" srcId="{8AF838FC-7FB9-4339-B5DB-0FE89935F5F9}" destId="{B01EC080-11BD-4FEF-97AA-90EBD319B15B}" srcOrd="1" destOrd="0" presId="urn:microsoft.com/office/officeart/2005/8/layout/hierarchy3"/>
    <dgm:cxn modelId="{AFA52644-076D-498B-8E8E-892FF821A1F9}" type="presParOf" srcId="{190F1FEC-BDE3-467D-954E-E62F2C2A70D6}" destId="{E06C51F5-AF35-41D4-97ED-65601A024BD7}" srcOrd="1" destOrd="0" presId="urn:microsoft.com/office/officeart/2005/8/layout/hierarchy3"/>
    <dgm:cxn modelId="{2631AB92-59CD-44B0-B57B-7205B33B201C}" type="presParOf" srcId="{E06C51F5-AF35-41D4-97ED-65601A024BD7}" destId="{6CB43F14-29D6-4EF6-8ABB-FBAC5EB83559}" srcOrd="0" destOrd="0" presId="urn:microsoft.com/office/officeart/2005/8/layout/hierarchy3"/>
    <dgm:cxn modelId="{B7463309-41B9-4087-BC3D-426EF2B53839}" type="presParOf" srcId="{E06C51F5-AF35-41D4-97ED-65601A024BD7}" destId="{3A6C2A6D-1A74-4849-9685-A4B1016C17CB}" srcOrd="1" destOrd="0" presId="urn:microsoft.com/office/officeart/2005/8/layout/hierarchy3"/>
    <dgm:cxn modelId="{016DB66B-1BCC-4159-83B9-86887A0BAFC3}" type="presParOf" srcId="{2D8250C9-0C37-4B9D-A4D7-E5AE5A5EE523}" destId="{9D43FAE6-CD71-4F6B-9645-E3714E084FEC}" srcOrd="4" destOrd="0" presId="urn:microsoft.com/office/officeart/2005/8/layout/hierarchy3"/>
    <dgm:cxn modelId="{533C2B7A-9AFF-4301-9314-048D707EE5CB}" type="presParOf" srcId="{9D43FAE6-CD71-4F6B-9645-E3714E084FEC}" destId="{25E83EB1-51EA-46D2-89F8-9160519F6D68}" srcOrd="0" destOrd="0" presId="urn:microsoft.com/office/officeart/2005/8/layout/hierarchy3"/>
    <dgm:cxn modelId="{D579D363-D0FC-4C5B-8EBD-8CBB406FF1AB}" type="presParOf" srcId="{25E83EB1-51EA-46D2-89F8-9160519F6D68}" destId="{59121240-3E43-41AB-A401-F68B591867E8}" srcOrd="0" destOrd="0" presId="urn:microsoft.com/office/officeart/2005/8/layout/hierarchy3"/>
    <dgm:cxn modelId="{7CEC8CC3-5C98-459C-A07A-2D060910726B}" type="presParOf" srcId="{25E83EB1-51EA-46D2-89F8-9160519F6D68}" destId="{C5BE2218-5FF6-4C84-B6B2-DEABD32D0315}" srcOrd="1" destOrd="0" presId="urn:microsoft.com/office/officeart/2005/8/layout/hierarchy3"/>
    <dgm:cxn modelId="{762CB128-302D-45D3-AC7C-F69855655A35}" type="presParOf" srcId="{9D43FAE6-CD71-4F6B-9645-E3714E084FEC}" destId="{AC848523-1968-4776-842B-80FB1751EFA9}" srcOrd="1" destOrd="0" presId="urn:microsoft.com/office/officeart/2005/8/layout/hierarchy3"/>
    <dgm:cxn modelId="{8E66B41E-8A40-482D-B614-39239A1CDCEB}" type="presParOf" srcId="{AC848523-1968-4776-842B-80FB1751EFA9}" destId="{70CED1EA-98E3-41C5-8FEF-EDF94DCC0905}" srcOrd="0" destOrd="0" presId="urn:microsoft.com/office/officeart/2005/8/layout/hierarchy3"/>
    <dgm:cxn modelId="{0EEB1A69-9CF2-4929-B3DA-19876B0646C7}" type="presParOf" srcId="{AC848523-1968-4776-842B-80FB1751EFA9}" destId="{266986BC-F7A2-4EB0-AEC1-6E14B0A37641}" srcOrd="1" destOrd="0" presId="urn:microsoft.com/office/officeart/2005/8/layout/hierarchy3"/>
    <dgm:cxn modelId="{008183EC-8EEF-446C-975D-5602E95539EE}" type="presParOf" srcId="{AC848523-1968-4776-842B-80FB1751EFA9}" destId="{0FFDC251-5EBB-4130-9411-BB50D4A70DAC}" srcOrd="2" destOrd="0" presId="urn:microsoft.com/office/officeart/2005/8/layout/hierarchy3"/>
    <dgm:cxn modelId="{9D9F8910-FE33-43F9-8AB0-B5B36B93EC49}" type="presParOf" srcId="{AC848523-1968-4776-842B-80FB1751EFA9}" destId="{7221BE9D-7F1A-4330-8722-78A0586088C2}" srcOrd="3" destOrd="0" presId="urn:microsoft.com/office/officeart/2005/8/layout/hierarchy3"/>
    <dgm:cxn modelId="{C8E3894D-F4A8-4068-B94C-A7BEE29F8086}" type="presParOf" srcId="{AC848523-1968-4776-842B-80FB1751EFA9}" destId="{18B27AFF-E03B-484D-8D85-BFE0497DA14D}" srcOrd="4" destOrd="0" presId="urn:microsoft.com/office/officeart/2005/8/layout/hierarchy3"/>
    <dgm:cxn modelId="{2CB2DE1F-742B-41B5-92D0-340F04D85191}" type="presParOf" srcId="{AC848523-1968-4776-842B-80FB1751EFA9}" destId="{1DB2B310-6042-4CAF-8CBA-3D53426F3BC6}" srcOrd="5" destOrd="0" presId="urn:microsoft.com/office/officeart/2005/8/layout/hierarchy3"/>
    <dgm:cxn modelId="{3AA1D25B-5874-4022-A780-FFA3EA47AC73}" type="presParOf" srcId="{AC848523-1968-4776-842B-80FB1751EFA9}" destId="{37A5FC9F-EBDF-4B03-A3EE-7D528B60FB47}" srcOrd="6" destOrd="0" presId="urn:microsoft.com/office/officeart/2005/8/layout/hierarchy3"/>
    <dgm:cxn modelId="{70B48905-ADD2-4D4F-8E93-4F91414993A7}" type="presParOf" srcId="{AC848523-1968-4776-842B-80FB1751EFA9}" destId="{D0DBFDFE-8233-4C55-9847-CB5CFC1777E9}" srcOrd="7" destOrd="0" presId="urn:microsoft.com/office/officeart/2005/8/layout/hierarchy3"/>
    <dgm:cxn modelId="{E690DD32-7953-4DE3-99D2-9F41304E23A1}" type="presParOf" srcId="{AC848523-1968-4776-842B-80FB1751EFA9}" destId="{481E5998-14BF-470A-93CE-C56BDAAB8B74}" srcOrd="8" destOrd="0" presId="urn:microsoft.com/office/officeart/2005/8/layout/hierarchy3"/>
    <dgm:cxn modelId="{9162DA96-C6E3-4AFE-AE3A-A767EF363A77}" type="presParOf" srcId="{AC848523-1968-4776-842B-80FB1751EFA9}" destId="{19CC7990-AF7E-4E9D-85D2-937156C3BBD4}" srcOrd="9" destOrd="0" presId="urn:microsoft.com/office/officeart/2005/8/layout/hierarchy3"/>
    <dgm:cxn modelId="{A486E3D1-C4F6-4A0F-B36D-7669C3189136}" type="presParOf" srcId="{AC848523-1968-4776-842B-80FB1751EFA9}" destId="{9003B7CA-CE84-4453-8EC7-3C74E0BD8096}" srcOrd="10" destOrd="0" presId="urn:microsoft.com/office/officeart/2005/8/layout/hierarchy3"/>
    <dgm:cxn modelId="{8681C737-E7D4-4A18-8635-144CEF3E8DE2}" type="presParOf" srcId="{AC848523-1968-4776-842B-80FB1751EFA9}" destId="{3FF602A8-A380-41AF-A36B-C5AADF226AFD}" srcOrd="11" destOrd="0" presId="urn:microsoft.com/office/officeart/2005/8/layout/hierarchy3"/>
    <dgm:cxn modelId="{0060706B-5280-4EA7-B4D0-26635FDEBDAE}" type="presParOf" srcId="{2D8250C9-0C37-4B9D-A4D7-E5AE5A5EE523}" destId="{7FC85B77-0432-4736-8CBA-0573971665D3}" srcOrd="5" destOrd="0" presId="urn:microsoft.com/office/officeart/2005/8/layout/hierarchy3"/>
    <dgm:cxn modelId="{DDD0D7FC-9938-4009-B346-BF1C5553B34B}" type="presParOf" srcId="{7FC85B77-0432-4736-8CBA-0573971665D3}" destId="{0866E21F-745F-4A5A-B8DA-64AC4245FEE9}" srcOrd="0" destOrd="0" presId="urn:microsoft.com/office/officeart/2005/8/layout/hierarchy3"/>
    <dgm:cxn modelId="{157A3C86-7A6C-47DE-8BC7-78B2A0172B7C}" type="presParOf" srcId="{0866E21F-745F-4A5A-B8DA-64AC4245FEE9}" destId="{D0FAC436-B069-43A3-812B-A161CDA0D1D1}" srcOrd="0" destOrd="0" presId="urn:microsoft.com/office/officeart/2005/8/layout/hierarchy3"/>
    <dgm:cxn modelId="{45C70A95-682F-4962-AE22-501736478B93}" type="presParOf" srcId="{0866E21F-745F-4A5A-B8DA-64AC4245FEE9}" destId="{46A8AE3F-91B1-443B-B5AE-276334EA3A04}" srcOrd="1" destOrd="0" presId="urn:microsoft.com/office/officeart/2005/8/layout/hierarchy3"/>
    <dgm:cxn modelId="{85F49059-6FBA-4713-BE7E-8E55C18C2575}" type="presParOf" srcId="{7FC85B77-0432-4736-8CBA-0573971665D3}" destId="{85D951ED-6380-4E54-9719-1B3B8DE4C998}" srcOrd="1" destOrd="0" presId="urn:microsoft.com/office/officeart/2005/8/layout/hierarchy3"/>
    <dgm:cxn modelId="{20DE31BA-671A-463A-B5D2-096FBE4AC271}" type="presParOf" srcId="{85D951ED-6380-4E54-9719-1B3B8DE4C998}" destId="{F3E0FFAA-DC62-4B24-9D00-283CFD976100}" srcOrd="0" destOrd="0" presId="urn:microsoft.com/office/officeart/2005/8/layout/hierarchy3"/>
    <dgm:cxn modelId="{E06FEEE7-E8AB-429B-910E-20B16D3FDDEC}" type="presParOf" srcId="{85D951ED-6380-4E54-9719-1B3B8DE4C998}" destId="{ED6F94C0-4FF1-470D-BC32-7F3DE9D081E1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E45A31-C017-48C4-940D-232A6F894A7D}">
      <dsp:nvSpPr>
        <dsp:cNvPr id="0" name=""/>
        <dsp:cNvSpPr/>
      </dsp:nvSpPr>
      <dsp:spPr>
        <a:xfrm>
          <a:off x="111605" y="1812"/>
          <a:ext cx="937399" cy="468699"/>
        </a:xfrm>
        <a:prstGeom prst="roundRect">
          <a:avLst>
            <a:gd name="adj" fmla="val 10000"/>
          </a:avLst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ata</a:t>
          </a:r>
        </a:p>
      </dsp:txBody>
      <dsp:txXfrm>
        <a:off x="125333" y="15540"/>
        <a:ext cx="909943" cy="441243"/>
      </dsp:txXfrm>
    </dsp:sp>
    <dsp:sp modelId="{A3C59C0E-0504-45BA-B2DE-8842598D11D3}">
      <dsp:nvSpPr>
        <dsp:cNvPr id="0" name=""/>
        <dsp:cNvSpPr/>
      </dsp:nvSpPr>
      <dsp:spPr>
        <a:xfrm>
          <a:off x="205345" y="470511"/>
          <a:ext cx="93739" cy="3515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1524"/>
              </a:lnTo>
              <a:lnTo>
                <a:pt x="93739" y="351524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FC2609-CD3E-4DDE-94AD-A0BD077DBAF5}">
      <dsp:nvSpPr>
        <dsp:cNvPr id="0" name=""/>
        <dsp:cNvSpPr/>
      </dsp:nvSpPr>
      <dsp:spPr>
        <a:xfrm>
          <a:off x="299085" y="587686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JSON files: *.json</a:t>
          </a:r>
        </a:p>
      </dsp:txBody>
      <dsp:txXfrm>
        <a:off x="312813" y="601414"/>
        <a:ext cx="722463" cy="441243"/>
      </dsp:txXfrm>
    </dsp:sp>
    <dsp:sp modelId="{D773B14A-1502-4859-A8F0-521C4A545B8E}">
      <dsp:nvSpPr>
        <dsp:cNvPr id="0" name=""/>
        <dsp:cNvSpPr/>
      </dsp:nvSpPr>
      <dsp:spPr>
        <a:xfrm>
          <a:off x="1283354" y="1812"/>
          <a:ext cx="937399" cy="468699"/>
        </a:xfrm>
        <a:prstGeom prst="roundRect">
          <a:avLst>
            <a:gd name="adj" fmla="val 10000"/>
          </a:avLst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ncl</a:t>
          </a:r>
        </a:p>
      </dsp:txBody>
      <dsp:txXfrm>
        <a:off x="1297082" y="15540"/>
        <a:ext cx="909943" cy="441243"/>
      </dsp:txXfrm>
    </dsp:sp>
    <dsp:sp modelId="{3C378AD0-1CA5-4F60-BEF6-0B7133964351}">
      <dsp:nvSpPr>
        <dsp:cNvPr id="0" name=""/>
        <dsp:cNvSpPr/>
      </dsp:nvSpPr>
      <dsp:spPr>
        <a:xfrm>
          <a:off x="1377094" y="470511"/>
          <a:ext cx="93739" cy="3515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1524"/>
              </a:lnTo>
              <a:lnTo>
                <a:pt x="93739" y="351524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9A3792-71E5-4BED-9BEA-54D466E9852A}">
      <dsp:nvSpPr>
        <dsp:cNvPr id="0" name=""/>
        <dsp:cNvSpPr/>
      </dsp:nvSpPr>
      <dsp:spPr>
        <a:xfrm>
          <a:off x="1470834" y="587686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Header files: *.h</a:t>
          </a:r>
        </a:p>
      </dsp:txBody>
      <dsp:txXfrm>
        <a:off x="1484562" y="601414"/>
        <a:ext cx="722463" cy="441243"/>
      </dsp:txXfrm>
    </dsp:sp>
    <dsp:sp modelId="{845DA434-C49C-4895-9441-E628CEA06A0C}">
      <dsp:nvSpPr>
        <dsp:cNvPr id="0" name=""/>
        <dsp:cNvSpPr/>
      </dsp:nvSpPr>
      <dsp:spPr>
        <a:xfrm>
          <a:off x="1377094" y="470511"/>
          <a:ext cx="93739" cy="937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37399"/>
              </a:lnTo>
              <a:lnTo>
                <a:pt x="93739" y="937399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2E4818-3849-4A0E-BA0A-44DC9F0E2355}">
      <dsp:nvSpPr>
        <dsp:cNvPr id="0" name=""/>
        <dsp:cNvSpPr/>
      </dsp:nvSpPr>
      <dsp:spPr>
        <a:xfrm>
          <a:off x="1470834" y="1173561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For adsorption: adsorption_*.h</a:t>
          </a:r>
        </a:p>
      </dsp:txBody>
      <dsp:txXfrm>
        <a:off x="1484562" y="1187289"/>
        <a:ext cx="722463" cy="441243"/>
      </dsp:txXfrm>
    </dsp:sp>
    <dsp:sp modelId="{A8F1E7CE-BC66-43E1-B350-1D08644F3BB3}">
      <dsp:nvSpPr>
        <dsp:cNvPr id="0" name=""/>
        <dsp:cNvSpPr/>
      </dsp:nvSpPr>
      <dsp:spPr>
        <a:xfrm>
          <a:off x="1377094" y="470511"/>
          <a:ext cx="93739" cy="15232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23274"/>
              </a:lnTo>
              <a:lnTo>
                <a:pt x="93739" y="1523274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F9F28D-29E8-4027-947A-B8B61E66C24E}">
      <dsp:nvSpPr>
        <dsp:cNvPr id="0" name=""/>
        <dsp:cNvSpPr/>
      </dsp:nvSpPr>
      <dsp:spPr>
        <a:xfrm>
          <a:off x="1470834" y="1759436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For absorption: absorption_*.h</a:t>
          </a:r>
        </a:p>
      </dsp:txBody>
      <dsp:txXfrm>
        <a:off x="1484562" y="1773164"/>
        <a:ext cx="722463" cy="441243"/>
      </dsp:txXfrm>
    </dsp:sp>
    <dsp:sp modelId="{01359481-B6D1-4834-9877-B0C659E8EAB6}">
      <dsp:nvSpPr>
        <dsp:cNvPr id="0" name=""/>
        <dsp:cNvSpPr/>
      </dsp:nvSpPr>
      <dsp:spPr>
        <a:xfrm>
          <a:off x="1377094" y="470511"/>
          <a:ext cx="93739" cy="21091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09148"/>
              </a:lnTo>
              <a:lnTo>
                <a:pt x="93739" y="2109148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81FF67-EC81-4FC0-ADB3-BA0BF6F48480}">
      <dsp:nvSpPr>
        <dsp:cNvPr id="0" name=""/>
        <dsp:cNvSpPr/>
      </dsp:nvSpPr>
      <dsp:spPr>
        <a:xfrm>
          <a:off x="1470834" y="2345310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For refrigerant: refrigerant_*.h </a:t>
          </a:r>
        </a:p>
      </dsp:txBody>
      <dsp:txXfrm>
        <a:off x="1484562" y="2359038"/>
        <a:ext cx="722463" cy="441243"/>
      </dsp:txXfrm>
    </dsp:sp>
    <dsp:sp modelId="{4C6FA95C-F2C9-401C-A4CD-0E8454DB88B9}">
      <dsp:nvSpPr>
        <dsp:cNvPr id="0" name=""/>
        <dsp:cNvSpPr/>
      </dsp:nvSpPr>
      <dsp:spPr>
        <a:xfrm>
          <a:off x="1377094" y="470511"/>
          <a:ext cx="93739" cy="269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95023"/>
              </a:lnTo>
              <a:lnTo>
                <a:pt x="93739" y="2695023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B403B1-ABF6-404C-A8E7-C9787BA8F723}">
      <dsp:nvSpPr>
        <dsp:cNvPr id="0" name=""/>
        <dsp:cNvSpPr/>
      </dsp:nvSpPr>
      <dsp:spPr>
        <a:xfrm>
          <a:off x="1470834" y="2931185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For working pair: </a:t>
          </a:r>
          <a:r>
            <a:rPr lang="en-US" sz="800" kern="1200" dirty="0" err="1"/>
            <a:t>workingPair.h</a:t>
          </a:r>
          <a:endParaRPr lang="en-US" sz="800" kern="1200" dirty="0"/>
        </a:p>
      </dsp:txBody>
      <dsp:txXfrm>
        <a:off x="1484562" y="2944913"/>
        <a:ext cx="722463" cy="441243"/>
      </dsp:txXfrm>
    </dsp:sp>
    <dsp:sp modelId="{D6785178-3BE8-4C98-BAD4-CCB8561B8BE6}">
      <dsp:nvSpPr>
        <dsp:cNvPr id="0" name=""/>
        <dsp:cNvSpPr/>
      </dsp:nvSpPr>
      <dsp:spPr>
        <a:xfrm>
          <a:off x="2455104" y="1812"/>
          <a:ext cx="937399" cy="468699"/>
        </a:xfrm>
        <a:prstGeom prst="roundRect">
          <a:avLst>
            <a:gd name="adj" fmla="val 10000"/>
          </a:avLst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lib</a:t>
          </a:r>
        </a:p>
      </dsp:txBody>
      <dsp:txXfrm>
        <a:off x="2468832" y="15540"/>
        <a:ext cx="909943" cy="441243"/>
      </dsp:txXfrm>
    </dsp:sp>
    <dsp:sp modelId="{92655BBF-93D5-44B7-B990-52B5066D78B5}">
      <dsp:nvSpPr>
        <dsp:cNvPr id="0" name=""/>
        <dsp:cNvSpPr/>
      </dsp:nvSpPr>
      <dsp:spPr>
        <a:xfrm>
          <a:off x="2548844" y="470511"/>
          <a:ext cx="93739" cy="3515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1524"/>
              </a:lnTo>
              <a:lnTo>
                <a:pt x="93739" y="351524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411E4A-8623-419A-98B4-1BEDE72DF5C1}">
      <dsp:nvSpPr>
        <dsp:cNvPr id="0" name=""/>
        <dsp:cNvSpPr/>
      </dsp:nvSpPr>
      <dsp:spPr>
        <a:xfrm>
          <a:off x="2642583" y="587686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External libraries: </a:t>
          </a:r>
          <a:r>
            <a:rPr lang="en-US" sz="800" kern="1200" dirty="0" err="1"/>
            <a:t>cJSON</a:t>
          </a:r>
          <a:endParaRPr lang="en-US" sz="800" kern="1200" dirty="0"/>
        </a:p>
      </dsp:txBody>
      <dsp:txXfrm>
        <a:off x="2656311" y="601414"/>
        <a:ext cx="722463" cy="441243"/>
      </dsp:txXfrm>
    </dsp:sp>
    <dsp:sp modelId="{9699C32E-1C6F-43BC-AE0A-6413641B08D7}">
      <dsp:nvSpPr>
        <dsp:cNvPr id="0" name=""/>
        <dsp:cNvSpPr/>
      </dsp:nvSpPr>
      <dsp:spPr>
        <a:xfrm>
          <a:off x="2548844" y="470511"/>
          <a:ext cx="93739" cy="937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37399"/>
              </a:lnTo>
              <a:lnTo>
                <a:pt x="93739" y="937399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7601FE-1338-4710-A966-352D9BB6481E}">
      <dsp:nvSpPr>
        <dsp:cNvPr id="0" name=""/>
        <dsp:cNvSpPr/>
      </dsp:nvSpPr>
      <dsp:spPr>
        <a:xfrm>
          <a:off x="2642583" y="1173561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Created libraries: *.lib and *.</a:t>
          </a:r>
          <a:r>
            <a:rPr lang="en-US" sz="800" kern="1200" dirty="0" err="1"/>
            <a:t>dll</a:t>
          </a:r>
          <a:endParaRPr lang="en-US" sz="800" kern="1200" dirty="0"/>
        </a:p>
      </dsp:txBody>
      <dsp:txXfrm>
        <a:off x="2656311" y="1187289"/>
        <a:ext cx="722463" cy="441243"/>
      </dsp:txXfrm>
    </dsp:sp>
    <dsp:sp modelId="{6BE4F37E-0158-49D9-B3E0-436F6976E761}">
      <dsp:nvSpPr>
        <dsp:cNvPr id="0" name=""/>
        <dsp:cNvSpPr/>
      </dsp:nvSpPr>
      <dsp:spPr>
        <a:xfrm>
          <a:off x="3626853" y="1812"/>
          <a:ext cx="937399" cy="468699"/>
        </a:xfrm>
        <a:prstGeom prst="roundRect">
          <a:avLst>
            <a:gd name="adj" fmla="val 10000"/>
          </a:avLst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obj</a:t>
          </a:r>
        </a:p>
      </dsp:txBody>
      <dsp:txXfrm>
        <a:off x="3640581" y="15540"/>
        <a:ext cx="909943" cy="441243"/>
      </dsp:txXfrm>
    </dsp:sp>
    <dsp:sp modelId="{6CB43F14-29D6-4EF6-8ABB-FBAC5EB83559}">
      <dsp:nvSpPr>
        <dsp:cNvPr id="0" name=""/>
        <dsp:cNvSpPr/>
      </dsp:nvSpPr>
      <dsp:spPr>
        <a:xfrm>
          <a:off x="3720593" y="470511"/>
          <a:ext cx="93739" cy="3515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1524"/>
              </a:lnTo>
              <a:lnTo>
                <a:pt x="93739" y="351524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6C2A6D-1A74-4849-9685-A4B1016C17CB}">
      <dsp:nvSpPr>
        <dsp:cNvPr id="0" name=""/>
        <dsp:cNvSpPr/>
      </dsp:nvSpPr>
      <dsp:spPr>
        <a:xfrm>
          <a:off x="3814333" y="587686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Objected files created during compilation: *.obj</a:t>
          </a:r>
        </a:p>
      </dsp:txBody>
      <dsp:txXfrm>
        <a:off x="3828061" y="601414"/>
        <a:ext cx="722463" cy="441243"/>
      </dsp:txXfrm>
    </dsp:sp>
    <dsp:sp modelId="{59121240-3E43-41AB-A401-F68B591867E8}">
      <dsp:nvSpPr>
        <dsp:cNvPr id="0" name=""/>
        <dsp:cNvSpPr/>
      </dsp:nvSpPr>
      <dsp:spPr>
        <a:xfrm>
          <a:off x="4798602" y="1812"/>
          <a:ext cx="937399" cy="468699"/>
        </a:xfrm>
        <a:prstGeom prst="roundRect">
          <a:avLst>
            <a:gd name="adj" fmla="val 10000"/>
          </a:avLst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src</a:t>
          </a:r>
          <a:endParaRPr lang="en-US" sz="2000" kern="1200" dirty="0"/>
        </a:p>
      </dsp:txBody>
      <dsp:txXfrm>
        <a:off x="4812330" y="15540"/>
        <a:ext cx="909943" cy="441243"/>
      </dsp:txXfrm>
    </dsp:sp>
    <dsp:sp modelId="{70CED1EA-98E3-41C5-8FEF-EDF94DCC0905}">
      <dsp:nvSpPr>
        <dsp:cNvPr id="0" name=""/>
        <dsp:cNvSpPr/>
      </dsp:nvSpPr>
      <dsp:spPr>
        <a:xfrm>
          <a:off x="4892342" y="470511"/>
          <a:ext cx="93739" cy="3515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1524"/>
              </a:lnTo>
              <a:lnTo>
                <a:pt x="93739" y="351524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6986BC-F7A2-4EB0-AEC1-6E14B0A37641}">
      <dsp:nvSpPr>
        <dsp:cNvPr id="0" name=""/>
        <dsp:cNvSpPr/>
      </dsp:nvSpPr>
      <dsp:spPr>
        <a:xfrm>
          <a:off x="4986082" y="587686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Source files: *.c</a:t>
          </a:r>
        </a:p>
      </dsp:txBody>
      <dsp:txXfrm>
        <a:off x="4999810" y="601414"/>
        <a:ext cx="722463" cy="441243"/>
      </dsp:txXfrm>
    </dsp:sp>
    <dsp:sp modelId="{0FFDC251-5EBB-4130-9411-BB50D4A70DAC}">
      <dsp:nvSpPr>
        <dsp:cNvPr id="0" name=""/>
        <dsp:cNvSpPr/>
      </dsp:nvSpPr>
      <dsp:spPr>
        <a:xfrm>
          <a:off x="4892342" y="470511"/>
          <a:ext cx="93739" cy="937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37399"/>
              </a:lnTo>
              <a:lnTo>
                <a:pt x="93739" y="937399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21BE9D-7F1A-4330-8722-78A0586088C2}">
      <dsp:nvSpPr>
        <dsp:cNvPr id="0" name=""/>
        <dsp:cNvSpPr/>
      </dsp:nvSpPr>
      <dsp:spPr>
        <a:xfrm>
          <a:off x="4986082" y="1173561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For adsorption: adsorption_*.c</a:t>
          </a:r>
        </a:p>
      </dsp:txBody>
      <dsp:txXfrm>
        <a:off x="4999810" y="1187289"/>
        <a:ext cx="722463" cy="441243"/>
      </dsp:txXfrm>
    </dsp:sp>
    <dsp:sp modelId="{18B27AFF-E03B-484D-8D85-BFE0497DA14D}">
      <dsp:nvSpPr>
        <dsp:cNvPr id="0" name=""/>
        <dsp:cNvSpPr/>
      </dsp:nvSpPr>
      <dsp:spPr>
        <a:xfrm>
          <a:off x="4892342" y="470511"/>
          <a:ext cx="93739" cy="15232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23274"/>
              </a:lnTo>
              <a:lnTo>
                <a:pt x="93739" y="1523274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B2B310-6042-4CAF-8CBA-3D53426F3BC6}">
      <dsp:nvSpPr>
        <dsp:cNvPr id="0" name=""/>
        <dsp:cNvSpPr/>
      </dsp:nvSpPr>
      <dsp:spPr>
        <a:xfrm>
          <a:off x="4986082" y="1759436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For absorption: absorption_*.c</a:t>
          </a:r>
        </a:p>
      </dsp:txBody>
      <dsp:txXfrm>
        <a:off x="4999810" y="1773164"/>
        <a:ext cx="722463" cy="441243"/>
      </dsp:txXfrm>
    </dsp:sp>
    <dsp:sp modelId="{37A5FC9F-EBDF-4B03-A3EE-7D528B60FB47}">
      <dsp:nvSpPr>
        <dsp:cNvPr id="0" name=""/>
        <dsp:cNvSpPr/>
      </dsp:nvSpPr>
      <dsp:spPr>
        <a:xfrm>
          <a:off x="4892342" y="470511"/>
          <a:ext cx="93739" cy="21091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09148"/>
              </a:lnTo>
              <a:lnTo>
                <a:pt x="93739" y="2109148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DBFDFE-8233-4C55-9847-CB5CFC1777E9}">
      <dsp:nvSpPr>
        <dsp:cNvPr id="0" name=""/>
        <dsp:cNvSpPr/>
      </dsp:nvSpPr>
      <dsp:spPr>
        <a:xfrm>
          <a:off x="4986082" y="2345310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For refrigerant: refrigerant_*.c </a:t>
          </a:r>
        </a:p>
      </dsp:txBody>
      <dsp:txXfrm>
        <a:off x="4999810" y="2359038"/>
        <a:ext cx="722463" cy="441243"/>
      </dsp:txXfrm>
    </dsp:sp>
    <dsp:sp modelId="{481E5998-14BF-470A-93CE-C56BDAAB8B74}">
      <dsp:nvSpPr>
        <dsp:cNvPr id="0" name=""/>
        <dsp:cNvSpPr/>
      </dsp:nvSpPr>
      <dsp:spPr>
        <a:xfrm>
          <a:off x="4892342" y="470511"/>
          <a:ext cx="93739" cy="269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95023"/>
              </a:lnTo>
              <a:lnTo>
                <a:pt x="93739" y="2695023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CC7990-AF7E-4E9D-85D2-937156C3BBD4}">
      <dsp:nvSpPr>
        <dsp:cNvPr id="0" name=""/>
        <dsp:cNvSpPr/>
      </dsp:nvSpPr>
      <dsp:spPr>
        <a:xfrm>
          <a:off x="4986082" y="2931185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For working pair: </a:t>
          </a:r>
          <a:r>
            <a:rPr lang="en-US" sz="800" kern="1200" dirty="0" err="1"/>
            <a:t>workingPair.c</a:t>
          </a:r>
          <a:endParaRPr lang="en-US" sz="800" kern="1200" dirty="0"/>
        </a:p>
      </dsp:txBody>
      <dsp:txXfrm>
        <a:off x="4999810" y="2944913"/>
        <a:ext cx="722463" cy="441243"/>
      </dsp:txXfrm>
    </dsp:sp>
    <dsp:sp modelId="{9003B7CA-CE84-4453-8EC7-3C74E0BD8096}">
      <dsp:nvSpPr>
        <dsp:cNvPr id="0" name=""/>
        <dsp:cNvSpPr/>
      </dsp:nvSpPr>
      <dsp:spPr>
        <a:xfrm>
          <a:off x="4892342" y="470511"/>
          <a:ext cx="93739" cy="32808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80898"/>
              </a:lnTo>
              <a:lnTo>
                <a:pt x="93739" y="3280898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F602A8-A380-41AF-A36B-C5AADF226AFD}">
      <dsp:nvSpPr>
        <dsp:cNvPr id="0" name=""/>
        <dsp:cNvSpPr/>
      </dsp:nvSpPr>
      <dsp:spPr>
        <a:xfrm>
          <a:off x="4986082" y="3517060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For testers: test_*.c</a:t>
          </a:r>
        </a:p>
      </dsp:txBody>
      <dsp:txXfrm>
        <a:off x="4999810" y="3530788"/>
        <a:ext cx="722463" cy="441243"/>
      </dsp:txXfrm>
    </dsp:sp>
    <dsp:sp modelId="{D0FAC436-B069-43A3-812B-A161CDA0D1D1}">
      <dsp:nvSpPr>
        <dsp:cNvPr id="0" name=""/>
        <dsp:cNvSpPr/>
      </dsp:nvSpPr>
      <dsp:spPr>
        <a:xfrm>
          <a:off x="5970352" y="1812"/>
          <a:ext cx="937399" cy="468699"/>
        </a:xfrm>
        <a:prstGeom prst="roundRect">
          <a:avLst>
            <a:gd name="adj" fmla="val 10000"/>
          </a:avLst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est</a:t>
          </a:r>
        </a:p>
      </dsp:txBody>
      <dsp:txXfrm>
        <a:off x="5984080" y="15540"/>
        <a:ext cx="909943" cy="441243"/>
      </dsp:txXfrm>
    </dsp:sp>
    <dsp:sp modelId="{F3E0FFAA-DC62-4B24-9D00-283CFD976100}">
      <dsp:nvSpPr>
        <dsp:cNvPr id="0" name=""/>
        <dsp:cNvSpPr/>
      </dsp:nvSpPr>
      <dsp:spPr>
        <a:xfrm>
          <a:off x="6064092" y="470511"/>
          <a:ext cx="93739" cy="3515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1524"/>
              </a:lnTo>
              <a:lnTo>
                <a:pt x="93739" y="351524"/>
              </a:lnTo>
            </a:path>
          </a:pathLst>
        </a:custGeom>
        <a:noFill/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6F94C0-4FF1-470D-BC32-7F3DE9D081E1}">
      <dsp:nvSpPr>
        <dsp:cNvPr id="0" name=""/>
        <dsp:cNvSpPr/>
      </dsp:nvSpPr>
      <dsp:spPr>
        <a:xfrm>
          <a:off x="6157832" y="587686"/>
          <a:ext cx="749919" cy="468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Scripts to test all source files: *.exe</a:t>
          </a:r>
        </a:p>
      </dsp:txBody>
      <dsp:txXfrm>
        <a:off x="6171560" y="601414"/>
        <a:ext cx="722463" cy="4412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A989147A-E99F-426E-8428-4F7A2B762C1A}" type="datetimeFigureOut">
              <a:rPr lang="de-DE"/>
              <a:pPr>
                <a:defRPr/>
              </a:pPr>
              <a:t>16.0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1FEB8BDD-D483-4F2A-8149-5CAA2225191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06278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E619EF57-6584-4C28-9DE9-68C51C925951}" type="datetimeFigureOut">
              <a:rPr lang="de-DE"/>
              <a:pPr>
                <a:defRPr/>
              </a:pPr>
              <a:t>16.0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6DB79B9A-35EE-4156-AEAA-A71D25E1C59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41052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9766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1345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16627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90830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86720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2119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6022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66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386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1321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3017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8898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8952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9079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2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288000" y="3553200"/>
            <a:ext cx="8568000" cy="405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8000" y="3923100"/>
            <a:ext cx="8568000" cy="243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Name des/der Vortragenden durch Klicken bearbeiten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401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0" y="4220100"/>
            <a:ext cx="8568000" cy="2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0" indent="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6000" algn="l"/>
              </a:tabLst>
              <a:defRPr lang="en-US" sz="20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1"/>
            <a:r>
              <a:rPr lang="de-DE" dirty="0"/>
              <a:t>Datum, Konferenz/Ort durch Klicken bearbeiten</a:t>
            </a:r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4507263"/>
            <a:ext cx="2667000" cy="665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8304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ZweiLi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102215"/>
            <a:ext cx="8568000" cy="4077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Überschrift durch Klicken bearbeiten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0" y="864000"/>
            <a:ext cx="3960000" cy="189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2000" b="1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 dirty="0"/>
              <a:t>Unter-Überschrift bearbeiten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1263600"/>
            <a:ext cx="3960000" cy="2989466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 dirty="0"/>
              <a:t>Liste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half" idx="2"/>
          </p:nvPr>
        </p:nvSpPr>
        <p:spPr>
          <a:xfrm>
            <a:off x="982800" y="4907787"/>
            <a:ext cx="1080000" cy="135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549F"/>
                </a:solidFill>
              </a:defRPr>
            </a:lvl1pPr>
          </a:lstStyle>
          <a:p>
            <a:fld id="{B1BEAC53-A4ED-4896-ACC1-8B58728864EE}" type="datetime4">
              <a:rPr lang="de-DE" smtClean="0"/>
              <a:t>16. Januar 2020</a:t>
            </a:fld>
            <a:endParaRPr lang="en-US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82058" y="4666685"/>
            <a:ext cx="4320000" cy="2376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de-DE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TD I: Exergie</a:t>
            </a:r>
            <a:endParaRPr lang="en-US" dirty="0"/>
          </a:p>
        </p:txBody>
      </p:sp>
      <p:sp>
        <p:nvSpPr>
          <p:cNvPr id="10" name="Textplatzhalter 24"/>
          <p:cNvSpPr>
            <a:spLocks noGrp="1"/>
          </p:cNvSpPr>
          <p:nvPr>
            <p:ph type="body" sz="quarter" idx="15" hasCustomPrompt="1"/>
          </p:nvPr>
        </p:nvSpPr>
        <p:spPr>
          <a:xfrm>
            <a:off x="4896000" y="864000"/>
            <a:ext cx="3960000" cy="189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2000" b="1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 dirty="0"/>
              <a:t>Unter-Überschrift bearbeiten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896000" y="1263601"/>
            <a:ext cx="3960000" cy="2989466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 dirty="0"/>
              <a:t>Liste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5931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102215"/>
            <a:ext cx="8568000" cy="4077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Überschrift durch Klicken bearbeiten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9" y="4019550"/>
            <a:ext cx="8559667" cy="3746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/>
            </a:lvl1pPr>
          </a:lstStyle>
          <a:p>
            <a:pPr lvl="0"/>
            <a:r>
              <a:rPr lang="de-DE" dirty="0"/>
              <a:t>Bildunterschrift (Beschreibung, Quelle)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/>
          </p:nvPr>
        </p:nvSpPr>
        <p:spPr>
          <a:xfrm>
            <a:off x="288000" y="864000"/>
            <a:ext cx="8568000" cy="30456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Datumsplatzhalter 2"/>
          <p:cNvSpPr>
            <a:spLocks noGrp="1"/>
          </p:cNvSpPr>
          <p:nvPr>
            <p:ph type="dt" sz="half" idx="2"/>
          </p:nvPr>
        </p:nvSpPr>
        <p:spPr>
          <a:xfrm>
            <a:off x="982800" y="4907787"/>
            <a:ext cx="1080000" cy="135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549F"/>
                </a:solidFill>
              </a:defRPr>
            </a:lvl1pPr>
          </a:lstStyle>
          <a:p>
            <a:fld id="{2C2F2F61-C5BD-4308-8CAE-8FE919B2161F}" type="datetime4">
              <a:rPr lang="de-DE" smtClean="0"/>
              <a:t>16. Januar 2020</a:t>
            </a:fld>
            <a:endParaRPr lang="en-US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82058" y="4666685"/>
            <a:ext cx="4320000" cy="2376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de-DE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TD I: Exerg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631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102215"/>
            <a:ext cx="8568000" cy="4077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Überschrift  durch Klicken bearbeiten</a:t>
            </a:r>
            <a:endParaRPr lang="en-US" dirty="0"/>
          </a:p>
        </p:txBody>
      </p:sp>
      <p:sp>
        <p:nvSpPr>
          <p:cNvPr id="12" name="Textplatzhalt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0" y="864000"/>
            <a:ext cx="8569325" cy="189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2000" b="1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 dirty="0"/>
              <a:t>Unter-Überschrift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287339" y="1263600"/>
            <a:ext cx="8569325" cy="272415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7" name="Datumsplatzhalter 2"/>
          <p:cNvSpPr>
            <a:spLocks noGrp="1"/>
          </p:cNvSpPr>
          <p:nvPr>
            <p:ph type="dt" sz="half" idx="2"/>
          </p:nvPr>
        </p:nvSpPr>
        <p:spPr>
          <a:xfrm>
            <a:off x="982800" y="4907787"/>
            <a:ext cx="1080000" cy="135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549F"/>
                </a:solidFill>
              </a:defRPr>
            </a:lvl1pPr>
          </a:lstStyle>
          <a:p>
            <a:fld id="{B4494BFF-9E98-4BC7-9D6B-D1145AA2B626}" type="datetime4">
              <a:rPr lang="de-DE" smtClean="0"/>
              <a:t>16. Januar 2020</a:t>
            </a:fld>
            <a:endParaRPr lang="en-US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82058" y="4666685"/>
            <a:ext cx="4320000" cy="2376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de-DE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TD I: Exerg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8485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r Verbinder 12"/>
          <p:cNvCxnSpPr/>
          <p:nvPr userDrawn="1"/>
        </p:nvCxnSpPr>
        <p:spPr>
          <a:xfrm>
            <a:off x="287339" y="4530329"/>
            <a:ext cx="85693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 userDrawn="1"/>
        </p:nvSpPr>
        <p:spPr>
          <a:xfrm>
            <a:off x="287339" y="1865710"/>
            <a:ext cx="8569325" cy="80962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</a:t>
            </a:r>
            <a:endParaRPr lang="en-US" dirty="0"/>
          </a:p>
        </p:txBody>
      </p:sp>
      <p:sp>
        <p:nvSpPr>
          <p:cNvPr id="9" name="Textplatzhalt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0" y="2991600"/>
            <a:ext cx="8569325" cy="124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 dirty="0"/>
              <a:t>Name(n) und Kontaktdat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000" y="4533300"/>
            <a:ext cx="3260852" cy="6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9836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7475" y="17860"/>
            <a:ext cx="7543800" cy="469106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52400" y="685800"/>
            <a:ext cx="8763000" cy="4057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F42AF4-760C-4EA7-A758-67E973D841A5}" type="datetime4">
              <a:rPr lang="de-DE" smtClean="0"/>
              <a:t>16. Januar 2020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8582025" y="4881562"/>
            <a:ext cx="438150" cy="25360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2EF1B49-F7A2-4F4F-BAD3-C19B20A7F1E7}" type="slidenum">
              <a:rPr lang="en-US"/>
              <a:pPr/>
              <a:t>‹Nr.›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D I: Exergie</a:t>
            </a:r>
          </a:p>
        </p:txBody>
      </p:sp>
    </p:spTree>
    <p:extLst>
      <p:ext uri="{BB962C8B-B14F-4D97-AF65-F5344CB8AC3E}">
        <p14:creationId xmlns:p14="http://schemas.microsoft.com/office/powerpoint/2010/main" val="36704026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7475" y="17860"/>
            <a:ext cx="7543800" cy="469106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8B7FEA9-54DA-4842-A555-74272869AC38}" type="datetime4">
              <a:rPr lang="de-DE" smtClean="0"/>
              <a:t>16. Januar 2020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582025" y="4881562"/>
            <a:ext cx="438150" cy="25360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000B8A3-3290-421B-BA58-086B3E079DC5}" type="slidenum">
              <a:rPr lang="en-US"/>
              <a:pPr/>
              <a:t>‹Nr.›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D I: Exergie</a:t>
            </a:r>
          </a:p>
        </p:txBody>
      </p:sp>
    </p:spTree>
    <p:extLst>
      <p:ext uri="{BB962C8B-B14F-4D97-AF65-F5344CB8AC3E}">
        <p14:creationId xmlns:p14="http://schemas.microsoft.com/office/powerpoint/2010/main" val="39895919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1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88000" y="1865700"/>
            <a:ext cx="8568000" cy="108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8000" y="2999981"/>
            <a:ext cx="8568000" cy="243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Name des/der Vortragenden durch Klicken bearbeiten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72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0" y="3368419"/>
            <a:ext cx="8568000" cy="729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0" indent="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6000" algn="l"/>
              </a:tabLst>
              <a:defRPr lang="en-US" sz="20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1"/>
            <a:r>
              <a:rPr lang="de-DE" dirty="0"/>
              <a:t>Affiliation(s) durch Klicken bearbeiten</a:t>
            </a:r>
            <a:endParaRPr lang="en-US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0" y="4220100"/>
            <a:ext cx="8568000" cy="2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0" indent="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6000" algn="l"/>
              </a:tabLst>
              <a:defRPr lang="en-US" sz="20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1"/>
            <a:r>
              <a:rPr lang="de-DE" dirty="0"/>
              <a:t>Datum, Konferenz/Ort durch Klicken bearbeiten</a:t>
            </a:r>
            <a:endParaRPr lang="en-US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4507263"/>
            <a:ext cx="2667000" cy="665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3679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1/3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9144000" cy="173474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chemeClr val="bg1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88000" y="1865700"/>
            <a:ext cx="8568000" cy="108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8000" y="2999981"/>
            <a:ext cx="8568000" cy="243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Name des/der Vortragenden durch Klicken bearbeiten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88000" y="3368419"/>
            <a:ext cx="8568000" cy="729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0" indent="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6000" algn="l"/>
              </a:tabLst>
              <a:defRPr lang="en-US" sz="20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1"/>
            <a:r>
              <a:rPr lang="de-DE" dirty="0"/>
              <a:t>Affiliation(s) durch Klicken bearbeiten</a:t>
            </a:r>
            <a:endParaRPr lang="en-US" dirty="0"/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0" y="4220100"/>
            <a:ext cx="8568000" cy="243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0" indent="0" algn="l" defTabSz="21600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216000" algn="l"/>
              </a:tabLst>
              <a:defRPr lang="en-US" sz="20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1"/>
            <a:r>
              <a:rPr lang="de-DE" dirty="0"/>
              <a:t>Datum, Konferenz/Ort durch Klicken bearbeiten</a:t>
            </a:r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4507263"/>
            <a:ext cx="2667000" cy="665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1724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half" idx="2"/>
          </p:nvPr>
        </p:nvSpPr>
        <p:spPr>
          <a:xfrm>
            <a:off x="982800" y="4907787"/>
            <a:ext cx="1080000" cy="135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549F"/>
                </a:solidFill>
              </a:defRPr>
            </a:lvl1pPr>
          </a:lstStyle>
          <a:p>
            <a:fld id="{80A1CECB-6C69-4BD6-AD6D-493274A2E298}" type="datetime4">
              <a:rPr lang="de-DE" smtClean="0"/>
              <a:t>16. Januar 2020</a:t>
            </a:fld>
            <a:endParaRPr lang="en-US" dirty="0"/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82058" y="4666685"/>
            <a:ext cx="4320000" cy="2376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de-DE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TD I: Exerg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6967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102215"/>
            <a:ext cx="8568000" cy="4077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Überschrift durch Klicken bearbeiten</a:t>
            </a:r>
            <a:endParaRPr lang="en-US" dirty="0"/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2"/>
          </p:nvPr>
        </p:nvSpPr>
        <p:spPr>
          <a:xfrm>
            <a:off x="982800" y="4907787"/>
            <a:ext cx="1080000" cy="135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549F"/>
                </a:solidFill>
              </a:defRPr>
            </a:lvl1pPr>
          </a:lstStyle>
          <a:p>
            <a:fld id="{F2028679-A693-4BDF-9C65-79888AC54A3D}" type="datetime4">
              <a:rPr lang="de-DE" smtClean="0"/>
              <a:t>16. Januar 2020</a:t>
            </a:fld>
            <a:endParaRPr lang="en-US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82058" y="4666685"/>
            <a:ext cx="4320000" cy="2376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de-DE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TD I: Exerg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3488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102215"/>
            <a:ext cx="8568000" cy="4077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Überschrift durch Klicken bearbeiten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0" y="864000"/>
            <a:ext cx="8569325" cy="189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2000" b="1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 dirty="0"/>
              <a:t>Unter-Überschrif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9" y="1263600"/>
            <a:ext cx="8569325" cy="2395538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 dirty="0"/>
              <a:t>Liste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2"/>
          <p:cNvSpPr>
            <a:spLocks noGrp="1"/>
          </p:cNvSpPr>
          <p:nvPr>
            <p:ph type="dt" sz="half" idx="2"/>
          </p:nvPr>
        </p:nvSpPr>
        <p:spPr>
          <a:xfrm>
            <a:off x="982800" y="4907787"/>
            <a:ext cx="1080000" cy="135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549F"/>
                </a:solidFill>
              </a:defRPr>
            </a:lvl1pPr>
          </a:lstStyle>
          <a:p>
            <a:fld id="{51B36296-082E-4D90-AAD7-2EC736EF199F}" type="datetime4">
              <a:rPr lang="de-DE" smtClean="0"/>
              <a:t>16. Januar 2020</a:t>
            </a:fld>
            <a:endParaRPr lang="en-US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82058" y="4666685"/>
            <a:ext cx="4320000" cy="2376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de-DE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TD I: Exerg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9701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Aufzählung_v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102215"/>
            <a:ext cx="8568000" cy="4077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Überschrift durch Klicken bearbeiten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9" y="864000"/>
            <a:ext cx="8569325" cy="2794500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 dirty="0"/>
              <a:t>Liste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2"/>
          <p:cNvSpPr>
            <a:spLocks noGrp="1"/>
          </p:cNvSpPr>
          <p:nvPr>
            <p:ph type="dt" sz="half" idx="2"/>
          </p:nvPr>
        </p:nvSpPr>
        <p:spPr>
          <a:xfrm>
            <a:off x="982800" y="4907787"/>
            <a:ext cx="1080000" cy="135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549F"/>
                </a:solidFill>
              </a:defRPr>
            </a:lvl1pPr>
          </a:lstStyle>
          <a:p>
            <a:fld id="{CEA6DBAE-3562-43D9-B31A-C4302541D3EB}" type="datetime4">
              <a:rPr lang="de-DE" smtClean="0"/>
              <a:t>16. Januar 2020</a:t>
            </a:fld>
            <a:endParaRPr lang="en-US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82058" y="4666685"/>
            <a:ext cx="4320000" cy="2376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de-DE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TD I: Exerg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491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102215"/>
            <a:ext cx="8568000" cy="4077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Überschrif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8000" y="864000"/>
            <a:ext cx="8568000" cy="189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000" b="1" i="0"/>
            </a:lvl1pPr>
            <a:lvl2pPr marL="216000" indent="180000">
              <a:buClr>
                <a:schemeClr val="tx2"/>
              </a:buClr>
              <a:defRPr sz="1800"/>
            </a:lvl2pPr>
            <a:lvl3pPr marL="432000" indent="180000">
              <a:buClr>
                <a:schemeClr val="tx2"/>
              </a:buClr>
              <a:buFont typeface="Symbol" panose="05050102010706020507" pitchFamily="18" charset="2"/>
              <a:buChar char="-"/>
              <a:defRPr sz="1600"/>
            </a:lvl3pPr>
            <a:lvl4pPr marL="648000" indent="18000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864000" indent="180000">
              <a:buClr>
                <a:schemeClr val="tx2"/>
              </a:buClr>
              <a:buFont typeface="Arial" panose="020B0604020202020204" pitchFamily="34" charset="0"/>
              <a:buChar char="-"/>
              <a:defRPr sz="1600"/>
            </a:lvl5pPr>
          </a:lstStyle>
          <a:p>
            <a:pPr lvl="0"/>
            <a:r>
              <a:rPr lang="de-DE" dirty="0"/>
              <a:t>Unter-Überschrif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1263601"/>
            <a:ext cx="8569325" cy="28134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10" name="Datumsplatzhalter 2"/>
          <p:cNvSpPr>
            <a:spLocks noGrp="1"/>
          </p:cNvSpPr>
          <p:nvPr>
            <p:ph type="dt" sz="half" idx="2"/>
          </p:nvPr>
        </p:nvSpPr>
        <p:spPr>
          <a:xfrm>
            <a:off x="982800" y="4907787"/>
            <a:ext cx="1080000" cy="135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549F"/>
                </a:solidFill>
              </a:defRPr>
            </a:lvl1pPr>
          </a:lstStyle>
          <a:p>
            <a:fld id="{5A0561E8-90D9-49B3-AAF1-01876B5BE49C}" type="datetime4">
              <a:rPr lang="de-DE" smtClean="0"/>
              <a:t>16. Januar 2020</a:t>
            </a:fld>
            <a:endParaRPr lang="en-US" dirty="0"/>
          </a:p>
        </p:txBody>
      </p:sp>
      <p:sp>
        <p:nvSpPr>
          <p:cNvPr id="11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82058" y="4666685"/>
            <a:ext cx="4320000" cy="2376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de-DE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TD I: Exerg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2058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102215"/>
            <a:ext cx="8568000" cy="4077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Überschrift durch Klicken bearbeiten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0" y="864000"/>
            <a:ext cx="8569325" cy="189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2000" b="1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 dirty="0"/>
              <a:t>Unter-Überschrift bearbeiten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9" y="1263600"/>
            <a:ext cx="5648325" cy="2989466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 dirty="0"/>
              <a:t>Liste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6069600" y="1264444"/>
            <a:ext cx="2786400" cy="2988469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Datumsplatzhalter 2"/>
          <p:cNvSpPr>
            <a:spLocks noGrp="1"/>
          </p:cNvSpPr>
          <p:nvPr>
            <p:ph type="dt" sz="half" idx="2"/>
          </p:nvPr>
        </p:nvSpPr>
        <p:spPr>
          <a:xfrm>
            <a:off x="982800" y="4907787"/>
            <a:ext cx="1080000" cy="135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549F"/>
                </a:solidFill>
              </a:defRPr>
            </a:lvl1pPr>
          </a:lstStyle>
          <a:p>
            <a:fld id="{FCF5D6F2-3759-47F1-8941-78F0DB30ECFA}" type="datetime4">
              <a:rPr lang="de-DE" smtClean="0"/>
              <a:t>16. Januar 2020</a:t>
            </a:fld>
            <a:endParaRPr lang="en-US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82058" y="4666685"/>
            <a:ext cx="4320000" cy="2376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de-DE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TD I: Exerg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8350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r Verbinder 10"/>
          <p:cNvCxnSpPr/>
          <p:nvPr/>
        </p:nvCxnSpPr>
        <p:spPr>
          <a:xfrm>
            <a:off x="287339" y="550921"/>
            <a:ext cx="85693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287339" y="4557542"/>
            <a:ext cx="85693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4"/>
          <p:cNvSpPr txBox="1">
            <a:spLocks noChangeArrowheads="1"/>
          </p:cNvSpPr>
          <p:nvPr/>
        </p:nvSpPr>
        <p:spPr bwMode="white">
          <a:xfrm>
            <a:off x="286559" y="4661325"/>
            <a:ext cx="438150" cy="2536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rgbClr val="EAEAEA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l" eaLnBrk="1" fontAlgn="auto" hangingPunct="1">
              <a:spcAft>
                <a:spcPts val="0"/>
              </a:spcAft>
            </a:pPr>
            <a:fld id="{43DEF5E2-322E-4CCD-8334-29AFEE31010E}" type="slidenum">
              <a:rPr lang="de-DE" smtClean="0">
                <a:solidFill>
                  <a:srgbClr val="00549F"/>
                </a:solidFill>
                <a:latin typeface="+mn-lt"/>
              </a:rPr>
              <a:pPr algn="l" eaLnBrk="1" fontAlgn="auto" hangingPunct="1">
                <a:spcAft>
                  <a:spcPts val="0"/>
                </a:spcAft>
              </a:pPr>
              <a:t>‹Nr.›</a:t>
            </a:fld>
            <a:endParaRPr lang="de-DE" dirty="0">
              <a:solidFill>
                <a:srgbClr val="00549F"/>
              </a:solidFill>
              <a:latin typeface="+mn-lt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982800" y="4907787"/>
            <a:ext cx="1080000" cy="135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549F"/>
                </a:solidFill>
              </a:defRPr>
            </a:lvl1pPr>
          </a:lstStyle>
          <a:p>
            <a:fld id="{DCB6DCFE-5D50-4E52-B928-9A3749CDEB4C}" type="datetime4">
              <a:rPr lang="de-DE" smtClean="0"/>
              <a:t>16. Januar 2020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82058" y="4666685"/>
            <a:ext cx="4320000" cy="2376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de-DE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TD I: Exergie</a:t>
            </a:r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4507263"/>
            <a:ext cx="2667000" cy="66542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74" r:id="rId2"/>
    <p:sldLayoutId id="2147483775" r:id="rId3"/>
    <p:sldLayoutId id="2147483771" r:id="rId4"/>
    <p:sldLayoutId id="2147483773" r:id="rId5"/>
    <p:sldLayoutId id="2147483752" r:id="rId6"/>
    <p:sldLayoutId id="2147483776" r:id="rId7"/>
    <p:sldLayoutId id="2147483753" r:id="rId8"/>
    <p:sldLayoutId id="2147483759" r:id="rId9"/>
    <p:sldLayoutId id="2147483777" r:id="rId10"/>
    <p:sldLayoutId id="2147483760" r:id="rId11"/>
    <p:sldLayoutId id="2147483761" r:id="rId12"/>
    <p:sldLayoutId id="2147483770" r:id="rId13"/>
    <p:sldLayoutId id="2147483778" r:id="rId14"/>
    <p:sldLayoutId id="2147483779" r:id="rId15"/>
  </p:sldLayoutIdLst>
  <p:hf sldNum="0"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57" userDrawn="1">
          <p15:clr>
            <a:srgbClr val="F26B43"/>
          </p15:clr>
        </p15:guide>
        <p15:guide id="2" orient="horz" pos="2863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pos="5579" userDrawn="1">
          <p15:clr>
            <a:srgbClr val="F26B43"/>
          </p15:clr>
        </p15:guide>
        <p15:guide id="5" pos="1950" userDrawn="1">
          <p15:clr>
            <a:srgbClr val="F26B43"/>
          </p15:clr>
        </p15:guide>
        <p15:guide id="6" pos="2064" userDrawn="1">
          <p15:clr>
            <a:srgbClr val="F26B43"/>
          </p15:clr>
        </p15:guide>
        <p15:guide id="7" pos="3696" userDrawn="1">
          <p15:clr>
            <a:srgbClr val="F26B43"/>
          </p15:clr>
        </p15:guide>
        <p15:guide id="8" pos="381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11" Type="http://schemas.microsoft.com/office/2007/relationships/hdphoto" Target="../media/hdphoto3.wdp"/><Relationship Id="rId5" Type="http://schemas.openxmlformats.org/officeDocument/2006/relationships/image" Target="../media/image7.png"/><Relationship Id="rId10" Type="http://schemas.openxmlformats.org/officeDocument/2006/relationships/image" Target="../media/image10.png"/><Relationship Id="rId4" Type="http://schemas.openxmlformats.org/officeDocument/2006/relationships/image" Target="../media/image6.png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SorpPropLib</a:t>
            </a:r>
            <a:r>
              <a:rPr lang="en-US" dirty="0"/>
              <a:t>: Workflow of the C-Wrappe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irko Engelpracht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000" dirty="0">
                <a:solidFill>
                  <a:srgbClr val="336699"/>
                </a:solidFill>
              </a:rPr>
              <a:t>Institute of Technical Thermodynamics, RWTH Aachen University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16/01/2020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ucture of JSON databas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16/01/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SorpPropLib</a:t>
            </a:r>
            <a:r>
              <a:rPr lang="en-US" dirty="0"/>
              <a:t>: C-Wrapper</a:t>
            </a:r>
          </a:p>
        </p:txBody>
      </p:sp>
      <p:sp>
        <p:nvSpPr>
          <p:cNvPr id="7" name="Rechteck 6"/>
          <p:cNvSpPr/>
          <p:nvPr/>
        </p:nvSpPr>
        <p:spPr>
          <a:xfrm>
            <a:off x="411164" y="1171155"/>
            <a:ext cx="260826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/>
              <a:t>[{Refrigerant | Working pair},</a:t>
            </a:r>
          </a:p>
          <a:p>
            <a:r>
              <a:rPr lang="en-US" sz="1400"/>
              <a:t> {Refrigerant | Working pair},</a:t>
            </a:r>
          </a:p>
          <a:p>
            <a:r>
              <a:rPr lang="en-US" sz="1400"/>
              <a:t> …</a:t>
            </a:r>
          </a:p>
          <a:p>
            <a:r>
              <a:rPr lang="en-US" sz="1400"/>
              <a:t> {Refrigerant | Working pair}</a:t>
            </a:r>
          </a:p>
          <a:p>
            <a:r>
              <a:rPr lang="en-US" sz="1400"/>
              <a:t>]</a:t>
            </a:r>
            <a:endParaRPr lang="en-US" sz="1400" dirty="0"/>
          </a:p>
        </p:txBody>
      </p:sp>
      <p:sp>
        <p:nvSpPr>
          <p:cNvPr id="8" name="Rechteck 7"/>
          <p:cNvSpPr/>
          <p:nvPr/>
        </p:nvSpPr>
        <p:spPr>
          <a:xfrm>
            <a:off x="3857625" y="1171155"/>
            <a:ext cx="4705350" cy="312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{“k”: {“_as_”: “</a:t>
            </a:r>
            <a:r>
              <a:rPr lang="en-US" sz="1400" dirty="0" err="1"/>
              <a:t>dum_sorbent</a:t>
            </a:r>
            <a:r>
              <a:rPr lang="en-US" sz="1400" dirty="0"/>
              <a:t>”,</a:t>
            </a:r>
          </a:p>
          <a:p>
            <a:r>
              <a:rPr lang="en-US" sz="1400" dirty="0"/>
              <a:t>         “_rf_”: “Name of refrigerant”,</a:t>
            </a:r>
          </a:p>
          <a:p>
            <a:pPr>
              <a:spcAft>
                <a:spcPts val="600"/>
              </a:spcAft>
            </a:pPr>
            <a:r>
              <a:rPr lang="en-US" sz="1400" dirty="0"/>
              <a:t>         “_</a:t>
            </a:r>
            <a:r>
              <a:rPr lang="en-US" sz="1400" dirty="0" err="1"/>
              <a:t>st</a:t>
            </a:r>
            <a:r>
              <a:rPr lang="en-US" sz="1400" dirty="0"/>
              <a:t>_”: “</a:t>
            </a:r>
            <a:r>
              <a:rPr lang="en-US" sz="1400" dirty="0" err="1"/>
              <a:t>dum_subtype</a:t>
            </a:r>
            <a:r>
              <a:rPr lang="en-US" sz="1400" dirty="0"/>
              <a:t>”},</a:t>
            </a:r>
          </a:p>
          <a:p>
            <a:pPr>
              <a:spcAft>
                <a:spcPts val="600"/>
              </a:spcAft>
            </a:pPr>
            <a:r>
              <a:rPr lang="en-US" sz="1400" dirty="0"/>
              <a:t> “v”: {“_ep_”: {“Equation1”: {“_c_”: “Literature”,			      “_e_”: Name of equation”,		      “_p_”: {“Parameter1”: Value,		                  “Parameter 2”: Value,			…},</a:t>
            </a:r>
          </a:p>
          <a:p>
            <a:pPr>
              <a:spcAft>
                <a:spcPts val="600"/>
              </a:spcAft>
            </a:pPr>
            <a:r>
              <a:rPr lang="en-US" sz="1400" dirty="0"/>
              <a:t>	    ….},</a:t>
            </a:r>
          </a:p>
          <a:p>
            <a:r>
              <a:rPr lang="en-US" sz="1400" dirty="0"/>
              <a:t>         “_r_”: “Name of refrigerant”,</a:t>
            </a:r>
          </a:p>
          <a:p>
            <a:r>
              <a:rPr lang="en-US" sz="1400" dirty="0"/>
              <a:t>         “_s_”:	 “</a:t>
            </a:r>
            <a:r>
              <a:rPr lang="en-US" sz="1400" dirty="0" err="1"/>
              <a:t>dum_sorbent</a:t>
            </a:r>
            <a:r>
              <a:rPr lang="en-US" sz="1400" dirty="0"/>
              <a:t>”,</a:t>
            </a:r>
          </a:p>
          <a:p>
            <a:r>
              <a:rPr lang="en-US" sz="1400" dirty="0"/>
              <a:t>         “_t_”:	 “</a:t>
            </a:r>
            <a:r>
              <a:rPr lang="en-US" sz="1400" dirty="0" err="1"/>
              <a:t>dum_subtype</a:t>
            </a:r>
            <a:r>
              <a:rPr lang="en-US" sz="1400" dirty="0"/>
              <a:t>”}</a:t>
            </a:r>
          </a:p>
          <a:p>
            <a:r>
              <a:rPr lang="en-US" sz="1400" dirty="0"/>
              <a:t>}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F4B179A-53A0-49B2-A596-015E10B71C89}"/>
              </a:ext>
            </a:extLst>
          </p:cNvPr>
          <p:cNvSpPr txBox="1"/>
          <p:nvPr/>
        </p:nvSpPr>
        <p:spPr>
          <a:xfrm>
            <a:off x="287339" y="701296"/>
            <a:ext cx="2484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General organisation</a:t>
            </a:r>
            <a:endParaRPr lang="en-US" b="1" i="1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F4B179A-53A0-49B2-A596-015E10B71C89}"/>
              </a:ext>
            </a:extLst>
          </p:cNvPr>
          <p:cNvSpPr txBox="1"/>
          <p:nvPr/>
        </p:nvSpPr>
        <p:spPr>
          <a:xfrm>
            <a:off x="3581400" y="701296"/>
            <a:ext cx="527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rganization of refrigerants and working pairs</a:t>
            </a:r>
            <a:endParaRPr lang="en-US" b="1" i="1" dirty="0"/>
          </a:p>
        </p:txBody>
      </p:sp>
      <p:sp>
        <p:nvSpPr>
          <p:cNvPr id="13" name="Rechteck 12"/>
          <p:cNvSpPr/>
          <p:nvPr/>
        </p:nvSpPr>
        <p:spPr>
          <a:xfrm>
            <a:off x="413254" y="2898278"/>
            <a:ext cx="2358521" cy="13981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atabase is array and elements of array are refrigerant or working pair object</a:t>
            </a:r>
          </a:p>
        </p:txBody>
      </p:sp>
      <p:cxnSp>
        <p:nvCxnSpPr>
          <p:cNvPr id="15" name="Gerade Verbindung mit Pfeil 14"/>
          <p:cNvCxnSpPr>
            <a:stCxn id="13" idx="0"/>
            <a:endCxn id="7" idx="2"/>
          </p:cNvCxnSpPr>
          <p:nvPr/>
        </p:nvCxnSpPr>
        <p:spPr>
          <a:xfrm flipV="1">
            <a:off x="1592515" y="2340706"/>
            <a:ext cx="122780" cy="55757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stCxn id="13" idx="3"/>
            <a:endCxn id="8" idx="1"/>
          </p:cNvCxnSpPr>
          <p:nvPr/>
        </p:nvCxnSpPr>
        <p:spPr>
          <a:xfrm flipV="1">
            <a:off x="2771775" y="2733121"/>
            <a:ext cx="1085850" cy="86425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8958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  <p:bldP spid="1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plemented refrigerants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16/01/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SorpPropLib</a:t>
            </a:r>
            <a:r>
              <a:rPr lang="en-US" dirty="0"/>
              <a:t>: C-Wrapper</a:t>
            </a:r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1463138"/>
              </p:ext>
            </p:extLst>
          </p:nvPr>
        </p:nvGraphicFramePr>
        <p:xfrm>
          <a:off x="902335" y="681750"/>
          <a:ext cx="7339331" cy="3780000"/>
        </p:xfrm>
        <a:graphic>
          <a:graphicData uri="http://schemas.openxmlformats.org/drawingml/2006/table">
            <a:tbl>
              <a:tblPr firstRow="1" firstCol="1" bandRow="1">
                <a:tableStyleId>{9D7B26C5-4107-4FEC-AEDC-1716B250A1EF}</a:tableStyleId>
              </a:tblPr>
              <a:tblGrid>
                <a:gridCol w="1408748">
                  <a:extLst>
                    <a:ext uri="{9D8B030D-6E8A-4147-A177-3AD203B41FA5}">
                      <a16:colId xmlns:a16="http://schemas.microsoft.com/office/drawing/2014/main" val="4158811848"/>
                    </a:ext>
                  </a:extLst>
                </a:gridCol>
                <a:gridCol w="2915285">
                  <a:extLst>
                    <a:ext uri="{9D8B030D-6E8A-4147-A177-3AD203B41FA5}">
                      <a16:colId xmlns:a16="http://schemas.microsoft.com/office/drawing/2014/main" val="102356163"/>
                    </a:ext>
                  </a:extLst>
                </a:gridCol>
                <a:gridCol w="3015298">
                  <a:extLst>
                    <a:ext uri="{9D8B030D-6E8A-4147-A177-3AD203B41FA5}">
                      <a16:colId xmlns:a16="http://schemas.microsoft.com/office/drawing/2014/main" val="2741075925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Refrigerant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 err="1">
                          <a:effectLst/>
                        </a:rPr>
                        <a:t>EoS</a:t>
                      </a:r>
                      <a:r>
                        <a:rPr lang="en-GB" sz="1800" dirty="0">
                          <a:effectLst/>
                        </a:rPr>
                        <a:t> for </a:t>
                      </a:r>
                      <a:r>
                        <a:rPr lang="en-GB" sz="1800" dirty="0" err="1">
                          <a:effectLst/>
                        </a:rPr>
                        <a:t>p</a:t>
                      </a:r>
                      <a:r>
                        <a:rPr lang="en-GB" sz="1800" baseline="-25000" dirty="0" err="1">
                          <a:effectLst/>
                        </a:rPr>
                        <a:t>sat</a:t>
                      </a:r>
                      <a:r>
                        <a:rPr lang="en-GB" sz="1800" dirty="0">
                          <a:effectLst/>
                        </a:rPr>
                        <a:t>(T), </a:t>
                      </a:r>
                      <a:r>
                        <a:rPr lang="en-GB" sz="1800" dirty="0" err="1">
                          <a:effectLst/>
                        </a:rPr>
                        <a:t>d</a:t>
                      </a:r>
                      <a:r>
                        <a:rPr lang="en-GB" sz="1600" dirty="0" err="1">
                          <a:effectLst/>
                        </a:rPr>
                        <a:t>p</a:t>
                      </a:r>
                      <a:r>
                        <a:rPr lang="en-GB" sz="1600" baseline="-25000" dirty="0" err="1">
                          <a:effectLst/>
                        </a:rPr>
                        <a:t>sat</a:t>
                      </a:r>
                      <a:r>
                        <a:rPr lang="en-GB" sz="1600" dirty="0">
                          <a:effectLst/>
                        </a:rPr>
                        <a:t>(T)_</a:t>
                      </a:r>
                      <a:r>
                        <a:rPr lang="en-GB" sz="1600" dirty="0" err="1">
                          <a:effectLst/>
                        </a:rPr>
                        <a:t>dT</a:t>
                      </a:r>
                      <a:endParaRPr lang="de-D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 err="1">
                          <a:effectLst/>
                        </a:rPr>
                        <a:t>EoS</a:t>
                      </a:r>
                      <a:r>
                        <a:rPr lang="en-GB" sz="1800" dirty="0">
                          <a:effectLst/>
                        </a:rPr>
                        <a:t> for </a:t>
                      </a:r>
                      <a:r>
                        <a:rPr lang="en-GB" sz="1800" dirty="0" err="1">
                          <a:effectLst/>
                        </a:rPr>
                        <a:t>rho</a:t>
                      </a:r>
                      <a:r>
                        <a:rPr lang="en-GB" sz="1800" baseline="-25000" dirty="0" err="1">
                          <a:effectLst/>
                        </a:rPr>
                        <a:t>l</a:t>
                      </a:r>
                      <a:r>
                        <a:rPr lang="en-GB" sz="1800" dirty="0">
                          <a:effectLst/>
                        </a:rPr>
                        <a:t>(T), </a:t>
                      </a:r>
                      <a:r>
                        <a:rPr lang="en-GB" sz="1800" dirty="0" err="1">
                          <a:effectLst/>
                        </a:rPr>
                        <a:t>d</a:t>
                      </a:r>
                      <a:r>
                        <a:rPr lang="en-GB" sz="1600" dirty="0" err="1">
                          <a:effectLst/>
                        </a:rPr>
                        <a:t>rho</a:t>
                      </a:r>
                      <a:r>
                        <a:rPr lang="en-GB" sz="1600" baseline="-25000" dirty="0" err="1">
                          <a:effectLst/>
                        </a:rPr>
                        <a:t>l</a:t>
                      </a:r>
                      <a:r>
                        <a:rPr lang="en-GB" sz="1600" dirty="0">
                          <a:effectLst/>
                        </a:rPr>
                        <a:t>(T)_</a:t>
                      </a:r>
                      <a:r>
                        <a:rPr lang="en-GB" sz="1600" dirty="0" err="1">
                          <a:effectLst/>
                        </a:rPr>
                        <a:t>dT</a:t>
                      </a:r>
                      <a:endParaRPr lang="de-D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05598437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R-134a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X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X</a:t>
                      </a:r>
                      <a:endParaRPr lang="de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0631817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CO2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X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X</a:t>
                      </a:r>
                      <a:endParaRPr lang="de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2438002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Methane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X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X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41517307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Water</a:t>
                      </a:r>
                      <a:endParaRPr lang="de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X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X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65476156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Isobutane</a:t>
                      </a:r>
                      <a:endParaRPr lang="de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X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X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93746340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Propane</a:t>
                      </a:r>
                      <a:endParaRPr lang="de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X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X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97879469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R-410a</a:t>
                      </a:r>
                      <a:endParaRPr lang="de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X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Missing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76397815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R-507a</a:t>
                      </a:r>
                      <a:endParaRPr lang="de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X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Missing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7887412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Propylene</a:t>
                      </a:r>
                      <a:endParaRPr lang="de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Missing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Missing</a:t>
                      </a:r>
                      <a:endParaRPr lang="de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3591142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42664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plemented working pairs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16/01/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SorpPropLib</a:t>
            </a:r>
            <a:r>
              <a:rPr lang="en-US" dirty="0"/>
              <a:t>: C-Wrapper</a:t>
            </a:r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8930138"/>
              </p:ext>
            </p:extLst>
          </p:nvPr>
        </p:nvGraphicFramePr>
        <p:xfrm>
          <a:off x="1854839" y="742252"/>
          <a:ext cx="5434322" cy="3658997"/>
        </p:xfrm>
        <a:graphic>
          <a:graphicData uri="http://schemas.openxmlformats.org/drawingml/2006/table">
            <a:tbl>
              <a:tblPr firstRow="1" firstCol="1" bandRow="1">
                <a:tableStyleId>{9D7B26C5-4107-4FEC-AEDC-1716B250A1EF}</a:tableStyleId>
              </a:tblPr>
              <a:tblGrid>
                <a:gridCol w="1397062">
                  <a:extLst>
                    <a:ext uri="{9D8B030D-6E8A-4147-A177-3AD203B41FA5}">
                      <a16:colId xmlns:a16="http://schemas.microsoft.com/office/drawing/2014/main" val="2480795459"/>
                    </a:ext>
                  </a:extLst>
                </a:gridCol>
                <a:gridCol w="723962">
                  <a:extLst>
                    <a:ext uri="{9D8B030D-6E8A-4147-A177-3AD203B41FA5}">
                      <a16:colId xmlns:a16="http://schemas.microsoft.com/office/drawing/2014/main" val="941487421"/>
                    </a:ext>
                  </a:extLst>
                </a:gridCol>
                <a:gridCol w="1293874">
                  <a:extLst>
                    <a:ext uri="{9D8B030D-6E8A-4147-A177-3AD203B41FA5}">
                      <a16:colId xmlns:a16="http://schemas.microsoft.com/office/drawing/2014/main" val="1621086132"/>
                    </a:ext>
                  </a:extLst>
                </a:gridCol>
                <a:gridCol w="914462">
                  <a:extLst>
                    <a:ext uri="{9D8B030D-6E8A-4147-A177-3AD203B41FA5}">
                      <a16:colId xmlns:a16="http://schemas.microsoft.com/office/drawing/2014/main" val="2127367501"/>
                    </a:ext>
                  </a:extLst>
                </a:gridCol>
                <a:gridCol w="1104962">
                  <a:extLst>
                    <a:ext uri="{9D8B030D-6E8A-4147-A177-3AD203B41FA5}">
                      <a16:colId xmlns:a16="http://schemas.microsoft.com/office/drawing/2014/main" val="4222762345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Refrigerant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MOF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Carbon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Zeolite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 err="1">
                          <a:effectLst/>
                        </a:rPr>
                        <a:t>Silicagel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extLst>
                  <a:ext uri="{0D108BD9-81ED-4DB2-BD59-A6C34878D82A}">
                    <a16:rowId xmlns:a16="http://schemas.microsoft.com/office/drawing/2014/main" val="20442900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R-134a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 err="1">
                          <a:effectLst/>
                        </a:rPr>
                        <a:t>maxsorb</a:t>
                      </a:r>
                      <a:r>
                        <a:rPr lang="en-GB" sz="1800" dirty="0">
                          <a:effectLst/>
                        </a:rPr>
                        <a:t>-iii</a:t>
                      </a:r>
                      <a:endParaRPr lang="de-DE" sz="1800" dirty="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acf-a-20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 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extLst>
                  <a:ext uri="{0D108BD9-81ED-4DB2-BD59-A6C34878D82A}">
                    <a16:rowId xmlns:a16="http://schemas.microsoft.com/office/drawing/2014/main" val="7615744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CO2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norit-rb1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5a</a:t>
                      </a:r>
                      <a:endParaRPr lang="de-DE" sz="1800" dirty="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13x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X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extLst>
                  <a:ext uri="{0D108BD9-81ED-4DB2-BD59-A6C34878D82A}">
                    <a16:rowId xmlns:a16="http://schemas.microsoft.com/office/drawing/2014/main" val="2013329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Methane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norit-rb1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 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extLst>
                  <a:ext uri="{0D108BD9-81ED-4DB2-BD59-A6C34878D82A}">
                    <a16:rowId xmlns:a16="http://schemas.microsoft.com/office/drawing/2014/main" val="21141313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Water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5a</a:t>
                      </a:r>
                      <a:endParaRPr lang="de-DE" sz="1800" dirty="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13x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X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extLst>
                  <a:ext uri="{0D108BD9-81ED-4DB2-BD59-A6C34878D82A}">
                    <a16:rowId xmlns:a16="http://schemas.microsoft.com/office/drawing/2014/main" val="38010564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Isobutane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cubtc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extLst>
                  <a:ext uri="{0D108BD9-81ED-4DB2-BD59-A6C34878D82A}">
                    <a16:rowId xmlns:a16="http://schemas.microsoft.com/office/drawing/2014/main" val="15022107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Propane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cubtc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 err="1">
                          <a:effectLst/>
                        </a:rPr>
                        <a:t>maxsorb</a:t>
                      </a:r>
                      <a:r>
                        <a:rPr lang="en-GB" sz="1800" dirty="0">
                          <a:effectLst/>
                        </a:rPr>
                        <a:t>-iii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extLst>
                  <a:ext uri="{0D108BD9-81ED-4DB2-BD59-A6C34878D82A}">
                    <a16:rowId xmlns:a16="http://schemas.microsoft.com/office/drawing/2014/main" val="12488783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R-410a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 err="1">
                          <a:effectLst/>
                        </a:rPr>
                        <a:t>maxsorb</a:t>
                      </a:r>
                      <a:r>
                        <a:rPr lang="en-GB" sz="1800" dirty="0">
                          <a:effectLst/>
                        </a:rPr>
                        <a:t>-iii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extLst>
                  <a:ext uri="{0D108BD9-81ED-4DB2-BD59-A6C34878D82A}">
                    <a16:rowId xmlns:a16="http://schemas.microsoft.com/office/drawing/2014/main" val="27492722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R-507a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 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acf-a-20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extLst>
                  <a:ext uri="{0D108BD9-81ED-4DB2-BD59-A6C34878D82A}">
                    <a16:rowId xmlns:a16="http://schemas.microsoft.com/office/drawing/2014/main" val="8757569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Propylene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cubtc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 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37" marR="62737" marT="0" marB="0"/>
                </a:tc>
                <a:extLst>
                  <a:ext uri="{0D108BD9-81ED-4DB2-BD59-A6C34878D82A}">
                    <a16:rowId xmlns:a16="http://schemas.microsoft.com/office/drawing/2014/main" val="21896113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72133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plemented refrigerant and isotherm function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87339" y="638590"/>
            <a:ext cx="8569325" cy="3799183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b="1" dirty="0">
                <a:sym typeface="Wingdings" panose="05000000000000000000" pitchFamily="2" charset="2"/>
              </a:rPr>
              <a:t>Refrigerant functions are based on </a:t>
            </a:r>
            <a:r>
              <a:rPr lang="en-US" b="1" dirty="0" err="1">
                <a:sym typeface="Wingdings" panose="05000000000000000000" pitchFamily="2" charset="2"/>
              </a:rPr>
              <a:t>generalised</a:t>
            </a:r>
            <a:r>
              <a:rPr lang="en-US" b="1" dirty="0">
                <a:sym typeface="Wingdings" panose="05000000000000000000" pitchFamily="2" charset="2"/>
              </a:rPr>
              <a:t> equations:</a:t>
            </a:r>
          </a:p>
          <a:p>
            <a:pPr lvl="1">
              <a:lnSpc>
                <a:spcPct val="150000"/>
              </a:lnSpc>
              <a:spcAft>
                <a:spcPts val="0"/>
              </a:spcAft>
              <a:tabLst>
                <a:tab pos="431800" algn="l"/>
                <a:tab pos="2962275" algn="l"/>
              </a:tabLst>
            </a:pPr>
            <a:r>
              <a:rPr lang="en-US" sz="1400" dirty="0" err="1">
                <a:sym typeface="Wingdings" panose="05000000000000000000" pitchFamily="2" charset="2"/>
              </a:rPr>
              <a:t>P_sat</a:t>
            </a:r>
            <a:r>
              <a:rPr lang="en-US" sz="1400" dirty="0">
                <a:sym typeface="Wingdings" panose="05000000000000000000" pitchFamily="2" charset="2"/>
              </a:rPr>
              <a:t>(T) and </a:t>
            </a:r>
            <a:r>
              <a:rPr lang="en-US" sz="1400" dirty="0" err="1">
                <a:sym typeface="Wingdings" panose="05000000000000000000" pitchFamily="2" charset="2"/>
              </a:rPr>
              <a:t>dp_sat</a:t>
            </a:r>
            <a:r>
              <a:rPr lang="en-US" sz="1400" dirty="0">
                <a:sym typeface="Wingdings" panose="05000000000000000000" pitchFamily="2" charset="2"/>
              </a:rPr>
              <a:t>(T)_dT:	</a:t>
            </a:r>
            <a:r>
              <a:rPr lang="en-US" sz="1400" dirty="0" err="1">
                <a:sym typeface="Wingdings" panose="05000000000000000000" pitchFamily="2" charset="2"/>
              </a:rPr>
              <a:t>Vapour</a:t>
            </a:r>
            <a:r>
              <a:rPr lang="en-US" sz="1400" dirty="0">
                <a:sym typeface="Wingdings" panose="05000000000000000000" pitchFamily="2" charset="2"/>
              </a:rPr>
              <a:t> pressure and its derivative </a:t>
            </a:r>
            <a:r>
              <a:rPr lang="en-US" sz="1400" dirty="0" err="1">
                <a:sym typeface="Wingdings" panose="05000000000000000000" pitchFamily="2" charset="2"/>
              </a:rPr>
              <a:t>wrt</a:t>
            </a:r>
            <a:r>
              <a:rPr lang="en-US" sz="1400" dirty="0">
                <a:sym typeface="Wingdings" panose="05000000000000000000" pitchFamily="2" charset="2"/>
              </a:rPr>
              <a:t> temperature</a:t>
            </a:r>
          </a:p>
          <a:p>
            <a:pPr lvl="1">
              <a:lnSpc>
                <a:spcPct val="150000"/>
              </a:lnSpc>
              <a:spcAft>
                <a:spcPts val="600"/>
              </a:spcAft>
              <a:tabLst>
                <a:tab pos="431800" algn="l"/>
                <a:tab pos="2962275" algn="l"/>
              </a:tabLst>
            </a:pPr>
            <a:r>
              <a:rPr lang="en-US" sz="1400" dirty="0" err="1">
                <a:sym typeface="Wingdings" panose="05000000000000000000" pitchFamily="2" charset="2"/>
              </a:rPr>
              <a:t>Rhol</a:t>
            </a:r>
            <a:r>
              <a:rPr lang="en-US" sz="1400" dirty="0">
                <a:sym typeface="Wingdings" panose="05000000000000000000" pitchFamily="2" charset="2"/>
              </a:rPr>
              <a:t>(T) and </a:t>
            </a:r>
            <a:r>
              <a:rPr lang="en-US" sz="1400" dirty="0" err="1">
                <a:sym typeface="Wingdings" panose="05000000000000000000" pitchFamily="2" charset="2"/>
              </a:rPr>
              <a:t>drho_l</a:t>
            </a:r>
            <a:r>
              <a:rPr lang="en-US" sz="1400" dirty="0">
                <a:sym typeface="Wingdings" panose="05000000000000000000" pitchFamily="2" charset="2"/>
              </a:rPr>
              <a:t>(T)_dT:	Saturated liquid density and its derivative </a:t>
            </a:r>
            <a:r>
              <a:rPr lang="en-US" sz="1400" dirty="0" err="1">
                <a:sym typeface="Wingdings" panose="05000000000000000000" pitchFamily="2" charset="2"/>
              </a:rPr>
              <a:t>wrt</a:t>
            </a:r>
            <a:r>
              <a:rPr lang="en-US" sz="1400" dirty="0">
                <a:sym typeface="Wingdings" panose="05000000000000000000" pitchFamily="2" charset="2"/>
              </a:rPr>
              <a:t> temperature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b="1" dirty="0">
                <a:sym typeface="Wingdings" panose="05000000000000000000" pitchFamily="2" charset="2"/>
              </a:rPr>
              <a:t>Classical isotherms:	Langmuir, Toth and Dual-Site-Sips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>
                <a:sym typeface="Wingdings" panose="05000000000000000000" pitchFamily="2" charset="2"/>
              </a:rPr>
              <a:t>w(</a:t>
            </a:r>
            <a:r>
              <a:rPr lang="en-US" sz="1400" dirty="0" err="1">
                <a:sym typeface="Wingdings" panose="05000000000000000000" pitchFamily="2" charset="2"/>
              </a:rPr>
              <a:t>p,T</a:t>
            </a:r>
            <a:r>
              <a:rPr lang="en-US" sz="1400" dirty="0">
                <a:sym typeface="Wingdings" panose="05000000000000000000" pitchFamily="2" charset="2"/>
              </a:rPr>
              <a:t>):	Loading depending on pressure &amp; temperature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>
                <a:sym typeface="Wingdings" panose="05000000000000000000" pitchFamily="2" charset="2"/>
              </a:rPr>
              <a:t>p(</a:t>
            </a:r>
            <a:r>
              <a:rPr lang="en-US" sz="1400" dirty="0" err="1">
                <a:sym typeface="Wingdings" panose="05000000000000000000" pitchFamily="2" charset="2"/>
              </a:rPr>
              <a:t>w,T</a:t>
            </a:r>
            <a:r>
              <a:rPr lang="en-US" sz="1400" dirty="0">
                <a:sym typeface="Wingdings" panose="05000000000000000000" pitchFamily="2" charset="2"/>
              </a:rPr>
              <a:t>):	Pressure depending on loading &amp; temperature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>
                <a:sym typeface="Wingdings" panose="05000000000000000000" pitchFamily="2" charset="2"/>
              </a:rPr>
              <a:t>T(</a:t>
            </a:r>
            <a:r>
              <a:rPr lang="en-US" sz="1400" dirty="0" err="1">
                <a:sym typeface="Wingdings" panose="05000000000000000000" pitchFamily="2" charset="2"/>
              </a:rPr>
              <a:t>p,w</a:t>
            </a:r>
            <a:r>
              <a:rPr lang="en-US" sz="1400" dirty="0">
                <a:sym typeface="Wingdings" panose="05000000000000000000" pitchFamily="2" charset="2"/>
              </a:rPr>
              <a:t>):	Temperature depending on pressure &amp; loading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 err="1">
                <a:sym typeface="Wingdings" panose="05000000000000000000" pitchFamily="2" charset="2"/>
              </a:rPr>
              <a:t>dw</a:t>
            </a:r>
            <a:r>
              <a:rPr lang="en-US" sz="1400" dirty="0">
                <a:sym typeface="Wingdings" panose="05000000000000000000" pitchFamily="2" charset="2"/>
              </a:rPr>
              <a:t>(</a:t>
            </a:r>
            <a:r>
              <a:rPr lang="en-US" sz="1400" dirty="0" err="1">
                <a:sym typeface="Wingdings" panose="05000000000000000000" pitchFamily="2" charset="2"/>
              </a:rPr>
              <a:t>p,T</a:t>
            </a:r>
            <a:r>
              <a:rPr lang="en-US" sz="1400" dirty="0">
                <a:sym typeface="Wingdings" panose="05000000000000000000" pitchFamily="2" charset="2"/>
              </a:rPr>
              <a:t>)_</a:t>
            </a:r>
            <a:r>
              <a:rPr lang="en-US" sz="1400" dirty="0" err="1">
                <a:sym typeface="Wingdings" panose="05000000000000000000" pitchFamily="2" charset="2"/>
              </a:rPr>
              <a:t>dp</a:t>
            </a:r>
            <a:r>
              <a:rPr lang="en-US" sz="1400" dirty="0">
                <a:sym typeface="Wingdings" panose="05000000000000000000" pitchFamily="2" charset="2"/>
              </a:rPr>
              <a:t>:	Derivative of loading </a:t>
            </a:r>
            <a:r>
              <a:rPr lang="en-US" sz="1400" dirty="0" err="1">
                <a:sym typeface="Wingdings" panose="05000000000000000000" pitchFamily="2" charset="2"/>
              </a:rPr>
              <a:t>wrt</a:t>
            </a:r>
            <a:r>
              <a:rPr lang="en-US" sz="1400" dirty="0">
                <a:sym typeface="Wingdings" panose="05000000000000000000" pitchFamily="2" charset="2"/>
              </a:rPr>
              <a:t> pressure 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 err="1">
                <a:sym typeface="Wingdings" panose="05000000000000000000" pitchFamily="2" charset="2"/>
              </a:rPr>
              <a:t>dw</a:t>
            </a:r>
            <a:r>
              <a:rPr lang="en-US" sz="1400" dirty="0">
                <a:sym typeface="Wingdings" panose="05000000000000000000" pitchFamily="2" charset="2"/>
              </a:rPr>
              <a:t>(</a:t>
            </a:r>
            <a:r>
              <a:rPr lang="en-US" sz="1400" dirty="0" err="1">
                <a:sym typeface="Wingdings" panose="05000000000000000000" pitchFamily="2" charset="2"/>
              </a:rPr>
              <a:t>p,T</a:t>
            </a:r>
            <a:r>
              <a:rPr lang="en-US" sz="1400" dirty="0">
                <a:sym typeface="Wingdings" panose="05000000000000000000" pitchFamily="2" charset="2"/>
              </a:rPr>
              <a:t>)_dT:	Derivative of loading </a:t>
            </a:r>
            <a:r>
              <a:rPr lang="en-US" sz="1400" dirty="0" err="1">
                <a:sym typeface="Wingdings" panose="05000000000000000000" pitchFamily="2" charset="2"/>
              </a:rPr>
              <a:t>wrt</a:t>
            </a:r>
            <a:r>
              <a:rPr lang="en-US" sz="1400" dirty="0">
                <a:sym typeface="Wingdings" panose="05000000000000000000" pitchFamily="2" charset="2"/>
              </a:rPr>
              <a:t> temperature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 err="1">
                <a:sym typeface="Wingdings" panose="05000000000000000000" pitchFamily="2" charset="2"/>
              </a:rPr>
              <a:t>dp</a:t>
            </a:r>
            <a:r>
              <a:rPr lang="en-US" sz="1400" dirty="0">
                <a:sym typeface="Wingdings" panose="05000000000000000000" pitchFamily="2" charset="2"/>
              </a:rPr>
              <a:t>(</a:t>
            </a:r>
            <a:r>
              <a:rPr lang="en-US" sz="1400" dirty="0" err="1">
                <a:sym typeface="Wingdings" panose="05000000000000000000" pitchFamily="2" charset="2"/>
              </a:rPr>
              <a:t>w,T</a:t>
            </a:r>
            <a:r>
              <a:rPr lang="en-US" sz="1400" dirty="0">
                <a:sym typeface="Wingdings" panose="05000000000000000000" pitchFamily="2" charset="2"/>
              </a:rPr>
              <a:t>)_</a:t>
            </a:r>
            <a:r>
              <a:rPr lang="en-US" sz="1400" dirty="0" err="1">
                <a:sym typeface="Wingdings" panose="05000000000000000000" pitchFamily="2" charset="2"/>
              </a:rPr>
              <a:t>dw</a:t>
            </a:r>
            <a:r>
              <a:rPr lang="en-US" sz="1400" dirty="0">
                <a:sym typeface="Wingdings" panose="05000000000000000000" pitchFamily="2" charset="2"/>
              </a:rPr>
              <a:t>:	Derivative of pressure </a:t>
            </a:r>
            <a:r>
              <a:rPr lang="en-US" sz="1400" dirty="0" err="1">
                <a:sym typeface="Wingdings" panose="05000000000000000000" pitchFamily="2" charset="2"/>
              </a:rPr>
              <a:t>wrt</a:t>
            </a:r>
            <a:r>
              <a:rPr lang="en-US" sz="1400" dirty="0">
                <a:sym typeface="Wingdings" panose="05000000000000000000" pitchFamily="2" charset="2"/>
              </a:rPr>
              <a:t> loading 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 err="1">
                <a:sym typeface="Wingdings" panose="05000000000000000000" pitchFamily="2" charset="2"/>
              </a:rPr>
              <a:t>dp</a:t>
            </a:r>
            <a:r>
              <a:rPr lang="en-US" sz="1400" dirty="0">
                <a:sym typeface="Wingdings" panose="05000000000000000000" pitchFamily="2" charset="2"/>
              </a:rPr>
              <a:t>(</a:t>
            </a:r>
            <a:r>
              <a:rPr lang="en-US" sz="1400" dirty="0" err="1">
                <a:sym typeface="Wingdings" panose="05000000000000000000" pitchFamily="2" charset="2"/>
              </a:rPr>
              <a:t>w,T</a:t>
            </a:r>
            <a:r>
              <a:rPr lang="en-US" sz="1400" dirty="0">
                <a:sym typeface="Wingdings" panose="05000000000000000000" pitchFamily="2" charset="2"/>
              </a:rPr>
              <a:t>)_dT:	Derivative of pressure </a:t>
            </a:r>
            <a:r>
              <a:rPr lang="en-US" sz="1400" dirty="0" err="1">
                <a:sym typeface="Wingdings" panose="05000000000000000000" pitchFamily="2" charset="2"/>
              </a:rPr>
              <a:t>wrt</a:t>
            </a:r>
            <a:r>
              <a:rPr lang="en-US" sz="1400" dirty="0">
                <a:sym typeface="Wingdings" panose="05000000000000000000" pitchFamily="2" charset="2"/>
              </a:rPr>
              <a:t> temperatur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16/01/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SorpPropLib</a:t>
            </a:r>
            <a:r>
              <a:rPr lang="en-US" dirty="0"/>
              <a:t>: C-Wrapper</a:t>
            </a:r>
          </a:p>
        </p:txBody>
      </p:sp>
    </p:spTree>
    <p:extLst>
      <p:ext uri="{BB962C8B-B14F-4D97-AF65-F5344CB8AC3E}">
        <p14:creationId xmlns:p14="http://schemas.microsoft.com/office/powerpoint/2010/main" val="18512291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plemented refrigerant and isotherm function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87339" y="638589"/>
            <a:ext cx="8569325" cy="3954675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b="1" dirty="0">
                <a:sym typeface="Wingdings" panose="05000000000000000000" pitchFamily="2" charset="2"/>
              </a:rPr>
              <a:t>Dubinin isotherms:	Dubinin-Astakhov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>
                <a:sym typeface="Wingdings" panose="05000000000000000000" pitchFamily="2" charset="2"/>
              </a:rPr>
              <a:t>W(</a:t>
            </a:r>
            <a:r>
              <a:rPr lang="en-US" sz="1400" dirty="0" err="1">
                <a:sym typeface="Wingdings" panose="05000000000000000000" pitchFamily="2" charset="2"/>
              </a:rPr>
              <a:t>A,rho_l</a:t>
            </a:r>
            <a:r>
              <a:rPr lang="en-US" sz="1400" dirty="0">
                <a:sym typeface="Wingdings" panose="05000000000000000000" pitchFamily="2" charset="2"/>
              </a:rPr>
              <a:t>):		Volumetric loading depending on adsorption potential &amp; liquid density</a:t>
            </a:r>
          </a:p>
          <a:p>
            <a:pPr lvl="1">
              <a:lnSpc>
                <a:spcPct val="150000"/>
              </a:lnSpc>
              <a:spcAft>
                <a:spcPts val="0"/>
              </a:spcAft>
              <a:tabLst>
                <a:tab pos="431800" algn="l"/>
                <a:tab pos="2419350" algn="l"/>
              </a:tabLst>
            </a:pPr>
            <a:r>
              <a:rPr lang="en-US" sz="1400" dirty="0">
                <a:sym typeface="Wingdings" panose="05000000000000000000" pitchFamily="2" charset="2"/>
              </a:rPr>
              <a:t>A(</a:t>
            </a:r>
            <a:r>
              <a:rPr lang="en-US" sz="1400" dirty="0" err="1">
                <a:sym typeface="Wingdings" panose="05000000000000000000" pitchFamily="2" charset="2"/>
              </a:rPr>
              <a:t>W,rho_l</a:t>
            </a:r>
            <a:r>
              <a:rPr lang="en-US" sz="1400" dirty="0">
                <a:sym typeface="Wingdings" panose="05000000000000000000" pitchFamily="2" charset="2"/>
              </a:rPr>
              <a:t>):	Adsorption potential depending on volumetric loading &amp; liquid density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 err="1">
                <a:sym typeface="Wingdings" panose="05000000000000000000" pitchFamily="2" charset="2"/>
              </a:rPr>
              <a:t>dW</a:t>
            </a:r>
            <a:r>
              <a:rPr lang="en-US" sz="1400" dirty="0">
                <a:sym typeface="Wingdings" panose="05000000000000000000" pitchFamily="2" charset="2"/>
              </a:rPr>
              <a:t>(</a:t>
            </a:r>
            <a:r>
              <a:rPr lang="en-US" sz="1400" dirty="0" err="1">
                <a:sym typeface="Wingdings" panose="05000000000000000000" pitchFamily="2" charset="2"/>
              </a:rPr>
              <a:t>A,rho_l</a:t>
            </a:r>
            <a:r>
              <a:rPr lang="en-US" sz="1400" dirty="0">
                <a:sym typeface="Wingdings" panose="05000000000000000000" pitchFamily="2" charset="2"/>
              </a:rPr>
              <a:t>)_</a:t>
            </a:r>
            <a:r>
              <a:rPr lang="en-US" sz="1400" dirty="0" err="1">
                <a:sym typeface="Wingdings" panose="05000000000000000000" pitchFamily="2" charset="2"/>
              </a:rPr>
              <a:t>dA</a:t>
            </a:r>
            <a:r>
              <a:rPr lang="en-US" sz="1400" dirty="0">
                <a:sym typeface="Wingdings" panose="05000000000000000000" pitchFamily="2" charset="2"/>
              </a:rPr>
              <a:t>:	Derivative of volumetric loading </a:t>
            </a:r>
            <a:r>
              <a:rPr lang="en-US" sz="1400" dirty="0" err="1">
                <a:sym typeface="Wingdings" panose="05000000000000000000" pitchFamily="2" charset="2"/>
              </a:rPr>
              <a:t>wrt</a:t>
            </a:r>
            <a:r>
              <a:rPr lang="en-US" sz="1400" dirty="0">
                <a:sym typeface="Wingdings" panose="05000000000000000000" pitchFamily="2" charset="2"/>
              </a:rPr>
              <a:t> adsorption potential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 err="1">
                <a:sym typeface="Wingdings" panose="05000000000000000000" pitchFamily="2" charset="2"/>
              </a:rPr>
              <a:t>dA</a:t>
            </a:r>
            <a:r>
              <a:rPr lang="en-US" sz="1400" dirty="0">
                <a:sym typeface="Wingdings" panose="05000000000000000000" pitchFamily="2" charset="2"/>
              </a:rPr>
              <a:t>(</a:t>
            </a:r>
            <a:r>
              <a:rPr lang="en-US" sz="1400" dirty="0" err="1">
                <a:sym typeface="Wingdings" panose="05000000000000000000" pitchFamily="2" charset="2"/>
              </a:rPr>
              <a:t>W,rho_l</a:t>
            </a:r>
            <a:r>
              <a:rPr lang="en-US" sz="1400" dirty="0">
                <a:sym typeface="Wingdings" panose="05000000000000000000" pitchFamily="2" charset="2"/>
              </a:rPr>
              <a:t>)_</a:t>
            </a:r>
            <a:r>
              <a:rPr lang="en-US" sz="1400" dirty="0" err="1">
                <a:sym typeface="Wingdings" panose="05000000000000000000" pitchFamily="2" charset="2"/>
              </a:rPr>
              <a:t>dW</a:t>
            </a:r>
            <a:r>
              <a:rPr lang="en-US" sz="1400" dirty="0">
                <a:sym typeface="Wingdings" panose="05000000000000000000" pitchFamily="2" charset="2"/>
              </a:rPr>
              <a:t>:	Derivative of adsorption potential </a:t>
            </a:r>
            <a:r>
              <a:rPr lang="en-US" sz="1400" dirty="0" err="1">
                <a:sym typeface="Wingdings" panose="05000000000000000000" pitchFamily="2" charset="2"/>
              </a:rPr>
              <a:t>wrt</a:t>
            </a:r>
            <a:r>
              <a:rPr lang="en-US" sz="1400" dirty="0">
                <a:sym typeface="Wingdings" panose="05000000000000000000" pitchFamily="2" charset="2"/>
              </a:rPr>
              <a:t> volumetric loading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>
                <a:sym typeface="Wingdings" panose="05000000000000000000" pitchFamily="2" charset="2"/>
              </a:rPr>
              <a:t>w(</a:t>
            </a:r>
            <a:r>
              <a:rPr lang="en-US" sz="1400" dirty="0" err="1">
                <a:sym typeface="Wingdings" panose="05000000000000000000" pitchFamily="2" charset="2"/>
              </a:rPr>
              <a:t>p,T,p_sat,rho_l</a:t>
            </a:r>
            <a:r>
              <a:rPr lang="en-US" sz="1400" dirty="0">
                <a:sym typeface="Wingdings" panose="05000000000000000000" pitchFamily="2" charset="2"/>
              </a:rPr>
              <a:t>):	Loading depending on pressure, temperature, vapor pressure &amp; liquid density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>
                <a:sym typeface="Wingdings" panose="05000000000000000000" pitchFamily="2" charset="2"/>
              </a:rPr>
              <a:t>p(</a:t>
            </a:r>
            <a:r>
              <a:rPr lang="en-US" sz="1400" dirty="0" err="1">
                <a:sym typeface="Wingdings" panose="05000000000000000000" pitchFamily="2" charset="2"/>
              </a:rPr>
              <a:t>w,T,p_sat,rho_l</a:t>
            </a:r>
            <a:r>
              <a:rPr lang="en-US" sz="1400" dirty="0">
                <a:sym typeface="Wingdings" panose="05000000000000000000" pitchFamily="2" charset="2"/>
              </a:rPr>
              <a:t>):	Pressure depending on loading, temperature, vapor pressure &amp; liquid density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>
                <a:sym typeface="Wingdings" panose="05000000000000000000" pitchFamily="2" charset="2"/>
              </a:rPr>
              <a:t>T(</a:t>
            </a:r>
            <a:r>
              <a:rPr lang="en-US" sz="1400" dirty="0" err="1">
                <a:sym typeface="Wingdings" panose="05000000000000000000" pitchFamily="2" charset="2"/>
              </a:rPr>
              <a:t>p,w,p_sat,rho_l</a:t>
            </a:r>
            <a:r>
              <a:rPr lang="en-US" sz="1400" dirty="0">
                <a:sym typeface="Wingdings" panose="05000000000000000000" pitchFamily="2" charset="2"/>
              </a:rPr>
              <a:t>):	Temperature depending on pressure, loading, vapor pressure &amp; liquid density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 err="1">
                <a:sym typeface="Wingdings" panose="05000000000000000000" pitchFamily="2" charset="2"/>
              </a:rPr>
              <a:t>dw</a:t>
            </a:r>
            <a:r>
              <a:rPr lang="en-US" sz="1400" dirty="0">
                <a:sym typeface="Wingdings" panose="05000000000000000000" pitchFamily="2" charset="2"/>
              </a:rPr>
              <a:t>(</a:t>
            </a:r>
            <a:r>
              <a:rPr lang="en-US" sz="1400" dirty="0" err="1">
                <a:sym typeface="Wingdings" panose="05000000000000000000" pitchFamily="2" charset="2"/>
              </a:rPr>
              <a:t>p,T,p_sat,rho_l</a:t>
            </a:r>
            <a:r>
              <a:rPr lang="en-US" sz="1400" dirty="0">
                <a:sym typeface="Wingdings" panose="05000000000000000000" pitchFamily="2" charset="2"/>
              </a:rPr>
              <a:t>)_</a:t>
            </a:r>
            <a:r>
              <a:rPr lang="en-US" sz="1400" dirty="0" err="1">
                <a:sym typeface="Wingdings" panose="05000000000000000000" pitchFamily="2" charset="2"/>
              </a:rPr>
              <a:t>dp</a:t>
            </a:r>
            <a:r>
              <a:rPr lang="en-US" sz="1400" dirty="0">
                <a:sym typeface="Wingdings" panose="05000000000000000000" pitchFamily="2" charset="2"/>
              </a:rPr>
              <a:t>:	Derivative of loading </a:t>
            </a:r>
            <a:r>
              <a:rPr lang="en-US" sz="1400" dirty="0" err="1">
                <a:sym typeface="Wingdings" panose="05000000000000000000" pitchFamily="2" charset="2"/>
              </a:rPr>
              <a:t>wrt</a:t>
            </a:r>
            <a:r>
              <a:rPr lang="en-US" sz="1400" dirty="0">
                <a:sym typeface="Wingdings" panose="05000000000000000000" pitchFamily="2" charset="2"/>
              </a:rPr>
              <a:t> pressure depending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 err="1">
                <a:sym typeface="Wingdings" panose="05000000000000000000" pitchFamily="2" charset="2"/>
              </a:rPr>
              <a:t>dw</a:t>
            </a:r>
            <a:r>
              <a:rPr lang="en-US" sz="1400" dirty="0">
                <a:sym typeface="Wingdings" panose="05000000000000000000" pitchFamily="2" charset="2"/>
              </a:rPr>
              <a:t>(</a:t>
            </a:r>
            <a:r>
              <a:rPr lang="en-US" sz="1400" dirty="0" err="1">
                <a:sym typeface="Wingdings" panose="05000000000000000000" pitchFamily="2" charset="2"/>
              </a:rPr>
              <a:t>p,T,p_sat,rho_l</a:t>
            </a:r>
            <a:r>
              <a:rPr lang="en-US" sz="1400" dirty="0">
                <a:sym typeface="Wingdings" panose="05000000000000000000" pitchFamily="2" charset="2"/>
              </a:rPr>
              <a:t>)_dT:	Derivative of loading </a:t>
            </a:r>
            <a:r>
              <a:rPr lang="en-US" sz="1400" dirty="0" err="1">
                <a:sym typeface="Wingdings" panose="05000000000000000000" pitchFamily="2" charset="2"/>
              </a:rPr>
              <a:t>wrt</a:t>
            </a:r>
            <a:r>
              <a:rPr lang="en-US" sz="1400" dirty="0">
                <a:sym typeface="Wingdings" panose="05000000000000000000" pitchFamily="2" charset="2"/>
              </a:rPr>
              <a:t> temperature depending </a:t>
            </a:r>
          </a:p>
          <a:p>
            <a:pPr lvl="1" defTabSz="809625">
              <a:lnSpc>
                <a:spcPct val="150000"/>
              </a:lnSpc>
              <a:spcAft>
                <a:spcPts val="0"/>
              </a:spcAft>
            </a:pPr>
            <a:r>
              <a:rPr lang="en-US" sz="1400" dirty="0" err="1">
                <a:sym typeface="Wingdings" panose="05000000000000000000" pitchFamily="2" charset="2"/>
              </a:rPr>
              <a:t>dp</a:t>
            </a:r>
            <a:r>
              <a:rPr lang="en-US" sz="1400" dirty="0">
                <a:sym typeface="Wingdings" panose="05000000000000000000" pitchFamily="2" charset="2"/>
              </a:rPr>
              <a:t>(</a:t>
            </a:r>
            <a:r>
              <a:rPr lang="en-US" sz="1400" dirty="0" err="1">
                <a:sym typeface="Wingdings" panose="05000000000000000000" pitchFamily="2" charset="2"/>
              </a:rPr>
              <a:t>w,T,p_sat,rho_l</a:t>
            </a:r>
            <a:r>
              <a:rPr lang="en-US" sz="1400" dirty="0">
                <a:sym typeface="Wingdings" panose="05000000000000000000" pitchFamily="2" charset="2"/>
              </a:rPr>
              <a:t>)_</a:t>
            </a:r>
            <a:r>
              <a:rPr lang="en-US" sz="1400" dirty="0" err="1">
                <a:sym typeface="Wingdings" panose="05000000000000000000" pitchFamily="2" charset="2"/>
              </a:rPr>
              <a:t>dw</a:t>
            </a:r>
            <a:r>
              <a:rPr lang="en-US" sz="1400" dirty="0">
                <a:sym typeface="Wingdings" panose="05000000000000000000" pitchFamily="2" charset="2"/>
              </a:rPr>
              <a:t>:	Derivative of pressure </a:t>
            </a:r>
            <a:r>
              <a:rPr lang="en-US" sz="1400" dirty="0" err="1">
                <a:sym typeface="Wingdings" panose="05000000000000000000" pitchFamily="2" charset="2"/>
              </a:rPr>
              <a:t>wrt</a:t>
            </a:r>
            <a:r>
              <a:rPr lang="en-US" sz="1400" dirty="0">
                <a:sym typeface="Wingdings" panose="05000000000000000000" pitchFamily="2" charset="2"/>
              </a:rPr>
              <a:t> pressure loading</a:t>
            </a:r>
          </a:p>
          <a:p>
            <a:pPr lvl="1" defTabSz="809625">
              <a:lnSpc>
                <a:spcPct val="150000"/>
              </a:lnSpc>
              <a:spcAft>
                <a:spcPts val="600"/>
              </a:spcAft>
            </a:pPr>
            <a:r>
              <a:rPr lang="en-US" sz="1400" dirty="0" err="1">
                <a:sym typeface="Wingdings" panose="05000000000000000000" pitchFamily="2" charset="2"/>
              </a:rPr>
              <a:t>dp</a:t>
            </a:r>
            <a:r>
              <a:rPr lang="en-US" sz="1400" dirty="0">
                <a:sym typeface="Wingdings" panose="05000000000000000000" pitchFamily="2" charset="2"/>
              </a:rPr>
              <a:t>(</a:t>
            </a:r>
            <a:r>
              <a:rPr lang="en-US" sz="1400" dirty="0" err="1">
                <a:sym typeface="Wingdings" panose="05000000000000000000" pitchFamily="2" charset="2"/>
              </a:rPr>
              <a:t>w,T,p_sat,rho_l</a:t>
            </a:r>
            <a:r>
              <a:rPr lang="en-US" sz="1400" dirty="0">
                <a:sym typeface="Wingdings" panose="05000000000000000000" pitchFamily="2" charset="2"/>
              </a:rPr>
              <a:t>)_dT:	Derivative of pressure </a:t>
            </a:r>
            <a:r>
              <a:rPr lang="en-US" sz="1400" dirty="0" err="1">
                <a:sym typeface="Wingdings" panose="05000000000000000000" pitchFamily="2" charset="2"/>
              </a:rPr>
              <a:t>wrt</a:t>
            </a:r>
            <a:r>
              <a:rPr lang="en-US" sz="1400" dirty="0">
                <a:sym typeface="Wingdings" panose="05000000000000000000" pitchFamily="2" charset="2"/>
              </a:rPr>
              <a:t> temperature depending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16/01/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SorpPropLib</a:t>
            </a:r>
            <a:r>
              <a:rPr lang="en-US" dirty="0"/>
              <a:t>: C-Wrapper</a:t>
            </a:r>
          </a:p>
        </p:txBody>
      </p:sp>
    </p:spTree>
    <p:extLst>
      <p:ext uri="{BB962C8B-B14F-4D97-AF65-F5344CB8AC3E}">
        <p14:creationId xmlns:p14="http://schemas.microsoft.com/office/powerpoint/2010/main" val="25904130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err="1"/>
              <a:t>SorpPropLib</a:t>
            </a:r>
            <a:r>
              <a:rPr lang="en-US" dirty="0"/>
              <a:t>: What it is for!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16/01/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SorpPropLib</a:t>
            </a:r>
            <a:r>
              <a:rPr lang="en-US" dirty="0"/>
              <a:t>: C-Wrapper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B0E222F7-1E7E-4604-BF95-09EAD5057C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9" y="766286"/>
            <a:ext cx="5014719" cy="3610928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dirty="0">
                <a:sym typeface="Wingdings" panose="05000000000000000000" pitchFamily="2" charset="2"/>
              </a:rPr>
              <a:t>Calculates equilibrium properties (e.g. pressure) of adsorption and absorption phenomena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dirty="0">
                <a:sym typeface="Wingdings" panose="05000000000000000000" pitchFamily="2" charset="2"/>
              </a:rPr>
              <a:t>Equations for equilibrium properties saved as C functions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dirty="0">
                <a:sym typeface="Wingdings" panose="05000000000000000000" pitchFamily="2" charset="2"/>
              </a:rPr>
              <a:t>Coefficients of equilibrium equations summarized in JSON database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dirty="0">
                <a:sym typeface="Wingdings" panose="05000000000000000000" pitchFamily="2" charset="2"/>
              </a:rPr>
              <a:t>If required by equilibrium equations, additional properties (e.g. vapor pressure) calculated</a:t>
            </a:r>
          </a:p>
          <a:p>
            <a:pPr marL="0" indent="0">
              <a:lnSpc>
                <a:spcPct val="150000"/>
              </a:lnSpc>
              <a:spcAft>
                <a:spcPts val="0"/>
              </a:spcAft>
              <a:buNone/>
            </a:pPr>
            <a:endParaRPr lang="en-US" dirty="0">
              <a:sym typeface="Wingdings" panose="05000000000000000000" pitchFamily="2" charset="2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1447E97A-ECFE-4204-AE48-088E02946D96}"/>
              </a:ext>
            </a:extLst>
          </p:cNvPr>
          <p:cNvGrpSpPr/>
          <p:nvPr/>
        </p:nvGrpSpPr>
        <p:grpSpPr>
          <a:xfrm>
            <a:off x="6213047" y="843822"/>
            <a:ext cx="2485369" cy="3279684"/>
            <a:chOff x="6213047" y="843822"/>
            <a:chExt cx="2485369" cy="3279684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6317155" y="3152350"/>
              <a:ext cx="2358521" cy="971156"/>
              <a:chOff x="821559" y="1786263"/>
              <a:chExt cx="2358521" cy="971156"/>
            </a:xfrm>
          </p:grpSpPr>
          <p:sp>
            <p:nvSpPr>
              <p:cNvPr id="15" name="Rechteck 14"/>
              <p:cNvSpPr/>
              <p:nvPr/>
            </p:nvSpPr>
            <p:spPr>
              <a:xfrm>
                <a:off x="821559" y="1786263"/>
                <a:ext cx="2358521" cy="971156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Flussdiagramm: Mehrere Dokumente 19"/>
              <p:cNvSpPr/>
              <p:nvPr/>
            </p:nvSpPr>
            <p:spPr>
              <a:xfrm>
                <a:off x="966779" y="2218769"/>
                <a:ext cx="596900" cy="406400"/>
              </a:xfrm>
              <a:prstGeom prst="flowChartMultidocument">
                <a:avLst/>
              </a:prstGeom>
              <a:solidFill>
                <a:srgbClr val="FFC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9" name="Textfeld 28"/>
              <p:cNvSpPr txBox="1"/>
              <p:nvPr/>
            </p:nvSpPr>
            <p:spPr>
              <a:xfrm>
                <a:off x="882015" y="1846288"/>
                <a:ext cx="81886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/>
                  <a:t>JSON</a:t>
                </a:r>
                <a:endParaRPr lang="en-US" b="1" dirty="0"/>
              </a:p>
            </p:txBody>
          </p:sp>
          <p:sp>
            <p:nvSpPr>
              <p:cNvPr id="30" name="Textfeld 29"/>
              <p:cNvSpPr txBox="1"/>
              <p:nvPr/>
            </p:nvSpPr>
            <p:spPr>
              <a:xfrm>
                <a:off x="1683247" y="1948676"/>
                <a:ext cx="148391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/>
                  <a:t>Coefficient</a:t>
                </a:r>
              </a:p>
              <a:p>
                <a:pPr algn="ctr"/>
                <a:r>
                  <a:rPr lang="en-US" dirty="0"/>
                  <a:t>database</a:t>
                </a:r>
              </a:p>
            </p:txBody>
          </p:sp>
        </p:grp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98ACF999-A6C2-4D95-BBD1-9E567E02C156}"/>
                </a:ext>
              </a:extLst>
            </p:cNvPr>
            <p:cNvGrpSpPr/>
            <p:nvPr/>
          </p:nvGrpSpPr>
          <p:grpSpPr>
            <a:xfrm>
              <a:off x="6317156" y="1251257"/>
              <a:ext cx="2358521" cy="971156"/>
              <a:chOff x="3218918" y="2384501"/>
              <a:chExt cx="2358521" cy="971156"/>
            </a:xfrm>
          </p:grpSpPr>
          <p:grpSp>
            <p:nvGrpSpPr>
              <p:cNvPr id="28" name="Gruppieren 27"/>
              <p:cNvGrpSpPr/>
              <p:nvPr/>
            </p:nvGrpSpPr>
            <p:grpSpPr>
              <a:xfrm>
                <a:off x="3218918" y="2384501"/>
                <a:ext cx="2358521" cy="971156"/>
                <a:chOff x="821559" y="1786263"/>
                <a:chExt cx="2358521" cy="971156"/>
              </a:xfrm>
            </p:grpSpPr>
            <p:sp>
              <p:nvSpPr>
                <p:cNvPr id="31" name="Rechteck 30"/>
                <p:cNvSpPr/>
                <p:nvPr/>
              </p:nvSpPr>
              <p:spPr>
                <a:xfrm>
                  <a:off x="821559" y="1786263"/>
                  <a:ext cx="2358521" cy="971156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Textfeld 33"/>
                <p:cNvSpPr txBox="1"/>
                <p:nvPr/>
              </p:nvSpPr>
              <p:spPr>
                <a:xfrm>
                  <a:off x="1683247" y="1948676"/>
                  <a:ext cx="1483917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dirty="0"/>
                    <a:t>Correlation equations</a:t>
                  </a:r>
                </a:p>
              </p:txBody>
            </p:sp>
          </p:grpSp>
          <p:pic>
            <p:nvPicPr>
              <p:cNvPr id="12" name="Grafik 1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4138" y="2497650"/>
                <a:ext cx="744858" cy="744858"/>
              </a:xfrm>
              <a:prstGeom prst="rect">
                <a:avLst/>
              </a:prstGeom>
            </p:spPr>
          </p:pic>
        </p:grp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9F4B179A-53A0-49B2-A596-015E10B71C89}"/>
                </a:ext>
              </a:extLst>
            </p:cNvPr>
            <p:cNvSpPr txBox="1"/>
            <p:nvPr/>
          </p:nvSpPr>
          <p:spPr>
            <a:xfrm>
              <a:off x="6506417" y="843822"/>
              <a:ext cx="198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u="sng" dirty="0" err="1"/>
                <a:t>SorpPropLib</a:t>
              </a:r>
              <a:endParaRPr lang="en-US" b="1" i="1" u="sng" dirty="0"/>
            </a:p>
          </p:txBody>
        </p:sp>
        <p:cxnSp>
          <p:nvCxnSpPr>
            <p:cNvPr id="7" name="Gerade Verbindung mit Pfeil 6">
              <a:extLst>
                <a:ext uri="{FF2B5EF4-FFF2-40B4-BE49-F238E27FC236}">
                  <a16:creationId xmlns:a16="http://schemas.microsoft.com/office/drawing/2014/main" id="{015A3AFC-8582-430C-92EE-2C5C0599BDC0}"/>
                </a:ext>
              </a:extLst>
            </p:cNvPr>
            <p:cNvCxnSpPr/>
            <p:nvPr/>
          </p:nvCxnSpPr>
          <p:spPr>
            <a:xfrm>
              <a:off x="7385276" y="2228946"/>
              <a:ext cx="0" cy="916871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31447090-8AC4-43F8-B27D-C1D5D50CA68E}"/>
                </a:ext>
              </a:extLst>
            </p:cNvPr>
            <p:cNvSpPr txBox="1"/>
            <p:nvPr/>
          </p:nvSpPr>
          <p:spPr>
            <a:xfrm>
              <a:off x="6213047" y="2179550"/>
              <a:ext cx="117222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9388" indent="-179388"/>
              <a:r>
                <a:rPr lang="en-US" sz="1200" dirty="0"/>
                <a:t>1)	Search coefficients for working pair and equation </a:t>
              </a:r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0FE70B89-BC73-4E9E-88D1-4E537185EF6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26187" y="2235479"/>
              <a:ext cx="0" cy="916871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608882A6-72C1-433D-8C1C-C8108B78DD0E}"/>
                </a:ext>
              </a:extLst>
            </p:cNvPr>
            <p:cNvSpPr txBox="1"/>
            <p:nvPr/>
          </p:nvSpPr>
          <p:spPr>
            <a:xfrm>
              <a:off x="7526187" y="2186083"/>
              <a:ext cx="117222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600" indent="-228600">
                <a:buAutoNum type="arabicParenR" startAt="2"/>
              </a:pPr>
              <a:r>
                <a:rPr lang="en-US" sz="1200" dirty="0"/>
                <a:t>Return coefficients and execute equ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98636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use the </a:t>
            </a:r>
            <a:r>
              <a:rPr lang="en-US" dirty="0" err="1"/>
              <a:t>SorpPropLib</a:t>
            </a:r>
            <a:r>
              <a:rPr lang="en-US" dirty="0"/>
              <a:t>?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10/01/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SorpPropLib</a:t>
            </a:r>
            <a:r>
              <a:rPr lang="en-US" dirty="0"/>
              <a:t>: C-Wrapper</a:t>
            </a:r>
          </a:p>
        </p:txBody>
      </p:sp>
      <p:grpSp>
        <p:nvGrpSpPr>
          <p:cNvPr id="22" name="Gruppieren 21"/>
          <p:cNvGrpSpPr/>
          <p:nvPr/>
        </p:nvGrpSpPr>
        <p:grpSpPr>
          <a:xfrm>
            <a:off x="216969" y="704756"/>
            <a:ext cx="3019733" cy="1442997"/>
            <a:chOff x="445569" y="153331"/>
            <a:chExt cx="3019733" cy="1442997"/>
          </a:xfrm>
        </p:grpSpPr>
        <p:sp>
          <p:nvSpPr>
            <p:cNvPr id="42" name="Pfeil nach rechts 41">
              <a:extLst>
                <a:ext uri="{FF2B5EF4-FFF2-40B4-BE49-F238E27FC236}">
                  <a16:creationId xmlns:a16="http://schemas.microsoft.com/office/drawing/2014/main" id="{F48AC860-9B23-4D6B-B6C5-A91CB3FF2954}"/>
                </a:ext>
              </a:extLst>
            </p:cNvPr>
            <p:cNvSpPr/>
            <p:nvPr/>
          </p:nvSpPr>
          <p:spPr>
            <a:xfrm>
              <a:off x="445569" y="984328"/>
              <a:ext cx="3019733" cy="612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nputs by user</a:t>
              </a:r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445569" y="153331"/>
              <a:ext cx="271684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Working pair:	e.g. CO</a:t>
              </a:r>
              <a:r>
                <a:rPr lang="en-US" sz="1200" baseline="-25000" dirty="0"/>
                <a:t>2</a:t>
              </a:r>
              <a:r>
                <a:rPr lang="en-US" sz="1200" dirty="0"/>
                <a:t> / </a:t>
              </a:r>
              <a:r>
                <a:rPr lang="en-US" sz="1200" dirty="0" err="1"/>
                <a:t>Silicagel</a:t>
              </a:r>
              <a:endParaRPr lang="en-US" sz="1200" dirty="0"/>
            </a:p>
            <a:p>
              <a:r>
                <a:rPr lang="en-US" sz="1200" dirty="0"/>
                <a:t>Isotherm:	e.g. Toth</a:t>
              </a:r>
            </a:p>
            <a:p>
              <a:r>
                <a:rPr lang="en-US" sz="1200" dirty="0"/>
                <a:t>Equation: 	e.g. w(</a:t>
              </a:r>
              <a:r>
                <a:rPr lang="en-US" sz="1200" dirty="0" err="1"/>
                <a:t>p,T</a:t>
              </a:r>
              <a:r>
                <a:rPr lang="en-US" sz="1200" dirty="0"/>
                <a:t>)</a:t>
              </a:r>
            </a:p>
            <a:p>
              <a:r>
                <a:rPr lang="en-US" sz="1200" dirty="0"/>
                <a:t>Values:	e.g. p=250 Pa, T=300 K</a:t>
              </a:r>
            </a:p>
          </p:txBody>
        </p:sp>
      </p:grpSp>
      <p:sp>
        <p:nvSpPr>
          <p:cNvPr id="14" name="Rechteck 13"/>
          <p:cNvSpPr/>
          <p:nvPr/>
        </p:nvSpPr>
        <p:spPr>
          <a:xfrm>
            <a:off x="6170254" y="800411"/>
            <a:ext cx="2570956" cy="3423245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7" name="Gruppieren 46"/>
          <p:cNvGrpSpPr/>
          <p:nvPr/>
        </p:nvGrpSpPr>
        <p:grpSpPr>
          <a:xfrm>
            <a:off x="194909" y="2983553"/>
            <a:ext cx="3019733" cy="1442997"/>
            <a:chOff x="445569" y="831928"/>
            <a:chExt cx="3019733" cy="1442997"/>
          </a:xfrm>
        </p:grpSpPr>
        <p:sp>
          <p:nvSpPr>
            <p:cNvPr id="48" name="Pfeil nach rechts 47">
              <a:extLst>
                <a:ext uri="{FF2B5EF4-FFF2-40B4-BE49-F238E27FC236}">
                  <a16:creationId xmlns:a16="http://schemas.microsoft.com/office/drawing/2014/main" id="{F48AC860-9B23-4D6B-B6C5-A91CB3FF2954}"/>
                </a:ext>
              </a:extLst>
            </p:cNvPr>
            <p:cNvSpPr/>
            <p:nvPr/>
          </p:nvSpPr>
          <p:spPr>
            <a:xfrm flipH="1">
              <a:off x="445569" y="831928"/>
              <a:ext cx="3019733" cy="612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Output</a:t>
              </a:r>
            </a:p>
          </p:txBody>
        </p:sp>
        <p:sp>
          <p:nvSpPr>
            <p:cNvPr id="49" name="Textfeld 48"/>
            <p:cNvSpPr txBox="1"/>
            <p:nvPr/>
          </p:nvSpPr>
          <p:spPr>
            <a:xfrm>
              <a:off x="765010" y="1443928"/>
              <a:ext cx="270029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Because of defined inputs, output is the loading w in kg/kg for p = 250 Pa, T = 300 K, and working pair CO</a:t>
              </a:r>
              <a:r>
                <a:rPr lang="en-US" sz="1200" baseline="-25000" dirty="0"/>
                <a:t>2</a:t>
              </a:r>
              <a:r>
                <a:rPr lang="en-US" sz="1200" dirty="0"/>
                <a:t> / </a:t>
              </a:r>
              <a:r>
                <a:rPr lang="en-US" sz="1200" dirty="0" err="1"/>
                <a:t>Silicagel</a:t>
              </a:r>
              <a:r>
                <a:rPr lang="en-US" sz="1200" dirty="0"/>
                <a:t> expressed by Toth isotherm</a:t>
              </a:r>
            </a:p>
          </p:txBody>
        </p:sp>
      </p:grpSp>
      <p:sp>
        <p:nvSpPr>
          <p:cNvPr id="50" name="Raute 49"/>
          <p:cNvSpPr/>
          <p:nvPr/>
        </p:nvSpPr>
        <p:spPr>
          <a:xfrm rot="16200000">
            <a:off x="4501809" y="1171609"/>
            <a:ext cx="132430" cy="91088"/>
          </a:xfrm>
          <a:prstGeom prst="diamond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51" name="Gerader Verbinder 50"/>
          <p:cNvCxnSpPr>
            <a:cxnSpLocks/>
            <a:stCxn id="14" idx="1"/>
            <a:endCxn id="50" idx="3"/>
          </p:cNvCxnSpPr>
          <p:nvPr/>
        </p:nvCxnSpPr>
        <p:spPr>
          <a:xfrm rot="10800000">
            <a:off x="4568024" y="1150938"/>
            <a:ext cx="1602230" cy="1361096"/>
          </a:xfrm>
          <a:prstGeom prst="bentConnector4">
            <a:avLst>
              <a:gd name="adj1" fmla="val 9710"/>
              <a:gd name="adj2" fmla="val 116795"/>
            </a:avLst>
          </a:prstGeom>
          <a:ln w="2857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51">
            <a:extLst>
              <a:ext uri="{FF2B5EF4-FFF2-40B4-BE49-F238E27FC236}">
                <a16:creationId xmlns:a16="http://schemas.microsoft.com/office/drawing/2014/main" id="{9F4B179A-53A0-49B2-A596-015E10B71C89}"/>
              </a:ext>
            </a:extLst>
          </p:cNvPr>
          <p:cNvSpPr txBox="1"/>
          <p:nvPr/>
        </p:nvSpPr>
        <p:spPr>
          <a:xfrm>
            <a:off x="4428605" y="550209"/>
            <a:ext cx="1704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Load-time DLL</a:t>
            </a: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BD55DDB7-30F6-4020-8E74-70DED187903B}"/>
              </a:ext>
            </a:extLst>
          </p:cNvPr>
          <p:cNvGrpSpPr/>
          <p:nvPr/>
        </p:nvGrpSpPr>
        <p:grpSpPr>
          <a:xfrm>
            <a:off x="6213047" y="843822"/>
            <a:ext cx="2485369" cy="3279684"/>
            <a:chOff x="6213047" y="843822"/>
            <a:chExt cx="2485369" cy="3279684"/>
          </a:xfrm>
        </p:grpSpPr>
        <p:grpSp>
          <p:nvGrpSpPr>
            <p:cNvPr id="59" name="Gruppieren 58">
              <a:extLst>
                <a:ext uri="{FF2B5EF4-FFF2-40B4-BE49-F238E27FC236}">
                  <a16:creationId xmlns:a16="http://schemas.microsoft.com/office/drawing/2014/main" id="{004C84E6-EAE3-401E-8647-94A3EA7D1E9E}"/>
                </a:ext>
              </a:extLst>
            </p:cNvPr>
            <p:cNvGrpSpPr/>
            <p:nvPr/>
          </p:nvGrpSpPr>
          <p:grpSpPr>
            <a:xfrm>
              <a:off x="6317155" y="3152350"/>
              <a:ext cx="2358521" cy="971156"/>
              <a:chOff x="821559" y="1786263"/>
              <a:chExt cx="2358521" cy="971156"/>
            </a:xfrm>
          </p:grpSpPr>
          <p:sp>
            <p:nvSpPr>
              <p:cNvPr id="70" name="Rechteck 69">
                <a:extLst>
                  <a:ext uri="{FF2B5EF4-FFF2-40B4-BE49-F238E27FC236}">
                    <a16:creationId xmlns:a16="http://schemas.microsoft.com/office/drawing/2014/main" id="{F7FC0083-BE34-449A-A244-C07B291B37B9}"/>
                  </a:ext>
                </a:extLst>
              </p:cNvPr>
              <p:cNvSpPr/>
              <p:nvPr/>
            </p:nvSpPr>
            <p:spPr>
              <a:xfrm>
                <a:off x="821559" y="1786263"/>
                <a:ext cx="2358521" cy="971156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1" name="Flussdiagramm: Mehrere Dokumente 70">
                <a:extLst>
                  <a:ext uri="{FF2B5EF4-FFF2-40B4-BE49-F238E27FC236}">
                    <a16:creationId xmlns:a16="http://schemas.microsoft.com/office/drawing/2014/main" id="{BD8902CC-3183-4364-8284-7E37F06D615F}"/>
                  </a:ext>
                </a:extLst>
              </p:cNvPr>
              <p:cNvSpPr/>
              <p:nvPr/>
            </p:nvSpPr>
            <p:spPr>
              <a:xfrm>
                <a:off x="966779" y="2218769"/>
                <a:ext cx="596900" cy="406400"/>
              </a:xfrm>
              <a:prstGeom prst="flowChartMultidocument">
                <a:avLst/>
              </a:prstGeom>
              <a:solidFill>
                <a:srgbClr val="FFC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2" name="Textfeld 71">
                <a:extLst>
                  <a:ext uri="{FF2B5EF4-FFF2-40B4-BE49-F238E27FC236}">
                    <a16:creationId xmlns:a16="http://schemas.microsoft.com/office/drawing/2014/main" id="{C28837DC-B45B-440F-90F0-B5DA1708716E}"/>
                  </a:ext>
                </a:extLst>
              </p:cNvPr>
              <p:cNvSpPr txBox="1"/>
              <p:nvPr/>
            </p:nvSpPr>
            <p:spPr>
              <a:xfrm>
                <a:off x="882015" y="1846288"/>
                <a:ext cx="81886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/>
                  <a:t>JSON</a:t>
                </a:r>
                <a:endParaRPr lang="en-US" b="1" dirty="0"/>
              </a:p>
            </p:txBody>
          </p:sp>
          <p:sp>
            <p:nvSpPr>
              <p:cNvPr id="73" name="Textfeld 72">
                <a:extLst>
                  <a:ext uri="{FF2B5EF4-FFF2-40B4-BE49-F238E27FC236}">
                    <a16:creationId xmlns:a16="http://schemas.microsoft.com/office/drawing/2014/main" id="{8334CA38-542F-4A39-A49C-3DE645430F9B}"/>
                  </a:ext>
                </a:extLst>
              </p:cNvPr>
              <p:cNvSpPr txBox="1"/>
              <p:nvPr/>
            </p:nvSpPr>
            <p:spPr>
              <a:xfrm>
                <a:off x="1683247" y="1948676"/>
                <a:ext cx="148391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/>
                  <a:t>Coefficient</a:t>
                </a:r>
              </a:p>
              <a:p>
                <a:pPr algn="ctr"/>
                <a:r>
                  <a:rPr lang="en-US" dirty="0"/>
                  <a:t>database</a:t>
                </a:r>
              </a:p>
            </p:txBody>
          </p:sp>
        </p:grpSp>
        <p:grpSp>
          <p:nvGrpSpPr>
            <p:cNvPr id="60" name="Gruppieren 59">
              <a:extLst>
                <a:ext uri="{FF2B5EF4-FFF2-40B4-BE49-F238E27FC236}">
                  <a16:creationId xmlns:a16="http://schemas.microsoft.com/office/drawing/2014/main" id="{34EC2707-81A6-43F8-9E58-5E42E2F0A46F}"/>
                </a:ext>
              </a:extLst>
            </p:cNvPr>
            <p:cNvGrpSpPr/>
            <p:nvPr/>
          </p:nvGrpSpPr>
          <p:grpSpPr>
            <a:xfrm>
              <a:off x="6317156" y="1251257"/>
              <a:ext cx="2358521" cy="971156"/>
              <a:chOff x="3218918" y="2384501"/>
              <a:chExt cx="2358521" cy="971156"/>
            </a:xfrm>
          </p:grpSpPr>
          <p:grpSp>
            <p:nvGrpSpPr>
              <p:cNvPr id="66" name="Gruppieren 65">
                <a:extLst>
                  <a:ext uri="{FF2B5EF4-FFF2-40B4-BE49-F238E27FC236}">
                    <a16:creationId xmlns:a16="http://schemas.microsoft.com/office/drawing/2014/main" id="{F29495B7-140B-428F-9CCC-13B101E3A740}"/>
                  </a:ext>
                </a:extLst>
              </p:cNvPr>
              <p:cNvGrpSpPr/>
              <p:nvPr/>
            </p:nvGrpSpPr>
            <p:grpSpPr>
              <a:xfrm>
                <a:off x="3218918" y="2384501"/>
                <a:ext cx="2358521" cy="971156"/>
                <a:chOff x="821559" y="1786263"/>
                <a:chExt cx="2358521" cy="971156"/>
              </a:xfrm>
            </p:grpSpPr>
            <p:sp>
              <p:nvSpPr>
                <p:cNvPr id="68" name="Rechteck 67">
                  <a:extLst>
                    <a:ext uri="{FF2B5EF4-FFF2-40B4-BE49-F238E27FC236}">
                      <a16:creationId xmlns:a16="http://schemas.microsoft.com/office/drawing/2014/main" id="{9FEAF960-49F4-495E-B501-684E6AAC0685}"/>
                    </a:ext>
                  </a:extLst>
                </p:cNvPr>
                <p:cNvSpPr/>
                <p:nvPr/>
              </p:nvSpPr>
              <p:spPr>
                <a:xfrm>
                  <a:off x="821559" y="1786263"/>
                  <a:ext cx="2358521" cy="971156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9" name="Textfeld 68">
                  <a:extLst>
                    <a:ext uri="{FF2B5EF4-FFF2-40B4-BE49-F238E27FC236}">
                      <a16:creationId xmlns:a16="http://schemas.microsoft.com/office/drawing/2014/main" id="{988F39F3-1E18-4344-865D-8D1B5C780176}"/>
                    </a:ext>
                  </a:extLst>
                </p:cNvPr>
                <p:cNvSpPr txBox="1"/>
                <p:nvPr/>
              </p:nvSpPr>
              <p:spPr>
                <a:xfrm>
                  <a:off x="1683247" y="1948676"/>
                  <a:ext cx="1483917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dirty="0"/>
                    <a:t>Correlation equations</a:t>
                  </a:r>
                </a:p>
              </p:txBody>
            </p:sp>
          </p:grpSp>
          <p:pic>
            <p:nvPicPr>
              <p:cNvPr id="67" name="Grafik 66">
                <a:extLst>
                  <a:ext uri="{FF2B5EF4-FFF2-40B4-BE49-F238E27FC236}">
                    <a16:creationId xmlns:a16="http://schemas.microsoft.com/office/drawing/2014/main" id="{22CF5F2C-25C7-4525-9533-87908AD88D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4138" y="2497650"/>
                <a:ext cx="744858" cy="744858"/>
              </a:xfrm>
              <a:prstGeom prst="rect">
                <a:avLst/>
              </a:prstGeom>
            </p:spPr>
          </p:pic>
        </p:grp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C9B0154B-5086-41DF-9078-C87B9CBC5B67}"/>
                </a:ext>
              </a:extLst>
            </p:cNvPr>
            <p:cNvSpPr txBox="1"/>
            <p:nvPr/>
          </p:nvSpPr>
          <p:spPr>
            <a:xfrm>
              <a:off x="6506417" y="843822"/>
              <a:ext cx="198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u="sng" dirty="0" err="1"/>
                <a:t>SorpPropLib</a:t>
              </a:r>
              <a:endParaRPr lang="en-US" b="1" i="1" u="sng" dirty="0"/>
            </a:p>
          </p:txBody>
        </p:sp>
        <p:cxnSp>
          <p:nvCxnSpPr>
            <p:cNvPr id="62" name="Gerade Verbindung mit Pfeil 61">
              <a:extLst>
                <a:ext uri="{FF2B5EF4-FFF2-40B4-BE49-F238E27FC236}">
                  <a16:creationId xmlns:a16="http://schemas.microsoft.com/office/drawing/2014/main" id="{AF784250-C686-4C55-AE9A-58BBFEAED810}"/>
                </a:ext>
              </a:extLst>
            </p:cNvPr>
            <p:cNvCxnSpPr/>
            <p:nvPr/>
          </p:nvCxnSpPr>
          <p:spPr>
            <a:xfrm>
              <a:off x="7385276" y="2228946"/>
              <a:ext cx="0" cy="916871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53999E01-D022-40BF-994C-F5573ACDBA43}"/>
                </a:ext>
              </a:extLst>
            </p:cNvPr>
            <p:cNvSpPr txBox="1"/>
            <p:nvPr/>
          </p:nvSpPr>
          <p:spPr>
            <a:xfrm>
              <a:off x="6213047" y="2179550"/>
              <a:ext cx="117222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9388" indent="-179388"/>
              <a:r>
                <a:rPr lang="en-US" sz="1200" dirty="0"/>
                <a:t>1)	Search coefficients for working pair and equation </a:t>
              </a:r>
            </a:p>
          </p:txBody>
        </p:sp>
        <p:cxnSp>
          <p:nvCxnSpPr>
            <p:cNvPr id="64" name="Gerade Verbindung mit Pfeil 63">
              <a:extLst>
                <a:ext uri="{FF2B5EF4-FFF2-40B4-BE49-F238E27FC236}">
                  <a16:creationId xmlns:a16="http://schemas.microsoft.com/office/drawing/2014/main" id="{888D9578-C273-418D-A06A-0208BA59213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26187" y="2235479"/>
              <a:ext cx="0" cy="916871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8034897B-56A9-469B-93AA-30CF82AFD02F}"/>
                </a:ext>
              </a:extLst>
            </p:cNvPr>
            <p:cNvSpPr txBox="1"/>
            <p:nvPr/>
          </p:nvSpPr>
          <p:spPr>
            <a:xfrm>
              <a:off x="7526187" y="2186083"/>
              <a:ext cx="117222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600" indent="-228600">
                <a:buAutoNum type="arabicParenR" startAt="2"/>
              </a:pPr>
              <a:r>
                <a:rPr lang="en-US" sz="1200" dirty="0"/>
                <a:t>Return coefficients and execute equation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DC7147EA-13B5-4068-A8B8-990FEA23C96E}"/>
              </a:ext>
            </a:extLst>
          </p:cNvPr>
          <p:cNvGrpSpPr/>
          <p:nvPr/>
        </p:nvGrpSpPr>
        <p:grpSpPr>
          <a:xfrm>
            <a:off x="3240072" y="1283368"/>
            <a:ext cx="2655903" cy="2564570"/>
            <a:chOff x="3240072" y="581248"/>
            <a:chExt cx="2655903" cy="2564570"/>
          </a:xfrm>
        </p:grpSpPr>
        <p:sp>
          <p:nvSpPr>
            <p:cNvPr id="25" name="Rechteck 24"/>
            <p:cNvSpPr/>
            <p:nvPr/>
          </p:nvSpPr>
          <p:spPr>
            <a:xfrm>
              <a:off x="3240072" y="581248"/>
              <a:ext cx="2655903" cy="256457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spcBef>
                  <a:spcPts val="1800"/>
                </a:spcBef>
                <a:spcAft>
                  <a:spcPts val="1200"/>
                </a:spcAft>
              </a:pPr>
              <a:r>
                <a:rPr lang="en-US" b="1" dirty="0">
                  <a:solidFill>
                    <a:schemeClr val="tx1"/>
                  </a:solidFill>
                </a:rPr>
                <a:t>Program used by the user</a:t>
              </a: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DD023F28-9011-4484-8A66-D4ECF2719B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0728" y="1434440"/>
              <a:ext cx="608014" cy="683407"/>
            </a:xfrm>
            <a:prstGeom prst="rect">
              <a:avLst/>
            </a:prstGeom>
          </p:spPr>
        </p:pic>
        <p:pic>
          <p:nvPicPr>
            <p:cNvPr id="11" name="Grafik 10" descr="Ein Bild, das Zeichnung, Schild, Straße, Uhr enthält.&#10;&#10;Automatisch generierte Beschreibung">
              <a:extLst>
                <a:ext uri="{FF2B5EF4-FFF2-40B4-BE49-F238E27FC236}">
                  <a16:creationId xmlns:a16="http://schemas.microsoft.com/office/drawing/2014/main" id="{EA41381B-D080-4356-BBF4-0AA6EA978E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8889" b="91556" l="3556" r="98667">
                          <a14:foregroundMark x1="21778" y1="52000" x2="21778" y2="52000"/>
                          <a14:foregroundMark x1="76444" y1="20889" x2="76444" y2="20889"/>
                          <a14:foregroundMark x1="76444" y1="20889" x2="76444" y2="20889"/>
                          <a14:foregroundMark x1="82667" y1="22667" x2="93333" y2="24889"/>
                          <a14:foregroundMark x1="73333" y1="17333" x2="73333" y2="17333"/>
                          <a14:foregroundMark x1="77778" y1="81778" x2="75111" y2="87111"/>
                          <a14:foregroundMark x1="92000" y1="77778" x2="73333" y2="86222"/>
                          <a14:foregroundMark x1="16444" y1="62222" x2="33333" y2="36000"/>
                          <a14:foregroundMark x1="17778" y1="37333" x2="33778" y2="59556"/>
                          <a14:foregroundMark x1="40444" y1="8889" x2="91111" y2="22222"/>
                          <a14:foregroundMark x1="72889" y1="20000" x2="90667" y2="12889"/>
                          <a14:foregroundMark x1="94667" y1="9778" x2="94667" y2="34222"/>
                          <a14:foregroundMark x1="94667" y1="63111" x2="76000" y2="78667"/>
                          <a14:foregroundMark x1="34222" y1="91556" x2="80889" y2="88444"/>
                          <a14:foregroundMark x1="69778" y1="9778" x2="93333" y2="10667"/>
                          <a14:foregroundMark x1="96444" y1="9333" x2="96889" y2="30222"/>
                          <a14:foregroundMark x1="98667" y1="75111" x2="87556" y2="90667"/>
                          <a14:foregroundMark x1="3556" y1="70667" x2="4000" y2="2977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6068" y="1326423"/>
              <a:ext cx="623654" cy="623654"/>
            </a:xfrm>
            <a:prstGeom prst="rect">
              <a:avLst/>
            </a:prstGeom>
          </p:spPr>
        </p:pic>
        <p:pic>
          <p:nvPicPr>
            <p:cNvPr id="17" name="Grafik 16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FC00826E-5DF5-4332-9DFA-6700D872E1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31389" b="73472" l="3203" r="29453">
                          <a14:foregroundMark x1="9609" y1="51944" x2="20313" y2="40833"/>
                          <a14:foregroundMark x1="15313" y1="68889" x2="25938" y2="52917"/>
                          <a14:foregroundMark x1="16406" y1="32500" x2="18906" y2="33194"/>
                          <a14:foregroundMark x1="17734" y1="31667" x2="17734" y2="31667"/>
                          <a14:foregroundMark x1="20078" y1="31806" x2="18125" y2="31389"/>
                          <a14:foregroundMark x1="13359" y1="36250" x2="13359" y2="36250"/>
                          <a14:foregroundMark x1="13359" y1="36389" x2="14375" y2="34583"/>
                          <a14:foregroundMark x1="21094" y1="70278" x2="20469" y2="70278"/>
                          <a14:foregroundMark x1="19688" y1="69861" x2="21484" y2="7083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709" r="67113" b="21161"/>
            <a:stretch/>
          </p:blipFill>
          <p:spPr>
            <a:xfrm>
              <a:off x="4153962" y="1200704"/>
              <a:ext cx="742833" cy="662338"/>
            </a:xfrm>
            <a:prstGeom prst="rect">
              <a:avLst/>
            </a:prstGeom>
          </p:spPr>
        </p:pic>
        <p:pic>
          <p:nvPicPr>
            <p:cNvPr id="1026" name="Picture 2" descr="Bildergebnis für symbol labview">
              <a:extLst>
                <a:ext uri="{FF2B5EF4-FFF2-40B4-BE49-F238E27FC236}">
                  <a16:creationId xmlns:a16="http://schemas.microsoft.com/office/drawing/2014/main" id="{30E61992-D726-48DB-A663-259458EC79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2898" y="2265870"/>
              <a:ext cx="789994" cy="685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Bildergebnis für symbol matlab">
              <a:extLst>
                <a:ext uri="{FF2B5EF4-FFF2-40B4-BE49-F238E27FC236}">
                  <a16:creationId xmlns:a16="http://schemas.microsoft.com/office/drawing/2014/main" id="{ED96B5EA-FF9E-4D42-B6C0-2554E73EAA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4695" b="93897" l="2532" r="97890">
                          <a14:foregroundMark x1="7173" y1="56338" x2="9283" y2="57277"/>
                          <a14:foregroundMark x1="2532" y1="56808" x2="2532" y2="56808"/>
                          <a14:foregroundMark x1="64979" y1="6103" x2="67089" y2="5164"/>
                          <a14:foregroundMark x1="45992" y1="93897" x2="51055" y2="88263"/>
                          <a14:foregroundMark x1="91561" y1="69953" x2="93249" y2="76526"/>
                          <a14:foregroundMark x1="96624" y1="80751" x2="97890" y2="8122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1433" y="2374733"/>
              <a:ext cx="766604" cy="6889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 descr="Bildergebnis für symbol modelica">
              <a:extLst>
                <a:ext uri="{FF2B5EF4-FFF2-40B4-BE49-F238E27FC236}">
                  <a16:creationId xmlns:a16="http://schemas.microsoft.com/office/drawing/2014/main" id="{4CAC82F8-4CAA-4AF2-BEF6-C776401294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8742" y="2041061"/>
              <a:ext cx="907774" cy="449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165828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 of the C wrapp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16/01/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SorpPropLib</a:t>
            </a:r>
            <a:r>
              <a:rPr lang="en-US" dirty="0"/>
              <a:t>: C-Wrapper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B0E222F7-1E7E-4604-BF95-09EAD5057C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9" y="766286"/>
            <a:ext cx="5888906" cy="3610928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dirty="0">
                <a:sym typeface="Wingdings" panose="05000000000000000000" pitchFamily="2" charset="2"/>
              </a:rPr>
              <a:t>C does not support object-oriented programming</a:t>
            </a:r>
          </a:p>
          <a:p>
            <a:pPr marL="0" indent="0">
              <a:lnSpc>
                <a:spcPct val="150000"/>
              </a:lnSpc>
              <a:spcAft>
                <a:spcPts val="0"/>
              </a:spcAft>
              <a:buNone/>
            </a:pPr>
            <a:endParaRPr lang="en-US" dirty="0">
              <a:sym typeface="Wingdings" panose="05000000000000000000" pitchFamily="2" charset="2"/>
            </a:endParaRPr>
          </a:p>
          <a:p>
            <a:pPr marL="0" indent="0">
              <a:lnSpc>
                <a:spcPct val="150000"/>
              </a:lnSpc>
              <a:spcAft>
                <a:spcPts val="0"/>
              </a:spcAft>
              <a:buNone/>
            </a:pPr>
            <a:endParaRPr lang="en-US" dirty="0"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>
                <a:sym typeface="Wingdings" panose="05000000000000000000" pitchFamily="2" charset="2"/>
              </a:rPr>
              <a:t>Desired program sequence of the C wrapper:</a:t>
            </a:r>
          </a:p>
          <a:p>
            <a:pPr marL="625475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u="sng" dirty="0">
                <a:sym typeface="Wingdings" panose="05000000000000000000" pitchFamily="2" charset="2"/>
              </a:rPr>
              <a:t>Initialization:</a:t>
            </a:r>
            <a:r>
              <a:rPr lang="en-US" dirty="0">
                <a:sym typeface="Wingdings" panose="05000000000000000000" pitchFamily="2" charset="2"/>
              </a:rPr>
              <a:t> Set up </a:t>
            </a:r>
            <a:r>
              <a:rPr lang="en-US" dirty="0" err="1">
                <a:sym typeface="Wingdings" panose="05000000000000000000" pitchFamily="2" charset="2"/>
              </a:rPr>
              <a:t>WorkingPair</a:t>
            </a:r>
            <a:r>
              <a:rPr lang="en-US" dirty="0">
                <a:sym typeface="Wingdings" panose="05000000000000000000" pitchFamily="2" charset="2"/>
              </a:rPr>
              <a:t>-struct</a:t>
            </a:r>
          </a:p>
          <a:p>
            <a:pPr marL="625475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u="sng" dirty="0">
                <a:sym typeface="Wingdings" panose="05000000000000000000" pitchFamily="2" charset="2"/>
              </a:rPr>
              <a:t>Usage:</a:t>
            </a:r>
            <a:r>
              <a:rPr lang="en-US" dirty="0">
                <a:sym typeface="Wingdings" panose="05000000000000000000" pitchFamily="2" charset="2"/>
              </a:rPr>
              <a:t> Call equilibrium functions that have pointer to </a:t>
            </a:r>
            <a:r>
              <a:rPr lang="en-US" dirty="0" err="1">
                <a:sym typeface="Wingdings" panose="05000000000000000000" pitchFamily="2" charset="2"/>
              </a:rPr>
              <a:t>WorkingPair</a:t>
            </a:r>
            <a:r>
              <a:rPr lang="en-US" dirty="0">
                <a:sym typeface="Wingdings" panose="05000000000000000000" pitchFamily="2" charset="2"/>
              </a:rPr>
              <a:t>-struct as additional argument</a:t>
            </a:r>
          </a:p>
          <a:p>
            <a:pPr marL="625475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u="sng" dirty="0">
                <a:sym typeface="Wingdings" panose="05000000000000000000" pitchFamily="2" charset="2"/>
              </a:rPr>
              <a:t>End of program:</a:t>
            </a:r>
            <a:r>
              <a:rPr lang="en-US" dirty="0">
                <a:sym typeface="Wingdings" panose="05000000000000000000" pitchFamily="2" charset="2"/>
              </a:rPr>
              <a:t> Delete </a:t>
            </a:r>
            <a:r>
              <a:rPr lang="en-US" dirty="0" err="1">
                <a:sym typeface="Wingdings" panose="05000000000000000000" pitchFamily="2" charset="2"/>
              </a:rPr>
              <a:t>WorkingPair</a:t>
            </a:r>
            <a:r>
              <a:rPr lang="en-US" dirty="0">
                <a:sym typeface="Wingdings" panose="05000000000000000000" pitchFamily="2" charset="2"/>
              </a:rPr>
              <a:t>-struct to free allocated memory</a:t>
            </a:r>
          </a:p>
          <a:p>
            <a:pPr marL="0" indent="0">
              <a:lnSpc>
                <a:spcPct val="150000"/>
              </a:lnSpc>
              <a:spcAft>
                <a:spcPts val="0"/>
              </a:spcAft>
              <a:buNone/>
            </a:pPr>
            <a:endParaRPr lang="en-US" dirty="0">
              <a:sym typeface="Wingdings" panose="05000000000000000000" pitchFamily="2" charset="2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1447E97A-ECFE-4204-AE48-088E02946D96}"/>
              </a:ext>
            </a:extLst>
          </p:cNvPr>
          <p:cNvGrpSpPr/>
          <p:nvPr/>
        </p:nvGrpSpPr>
        <p:grpSpPr>
          <a:xfrm>
            <a:off x="6213047" y="843822"/>
            <a:ext cx="2485369" cy="3279684"/>
            <a:chOff x="6213047" y="843822"/>
            <a:chExt cx="2485369" cy="3279684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6317155" y="3152350"/>
              <a:ext cx="2358521" cy="971156"/>
              <a:chOff x="821559" y="1786263"/>
              <a:chExt cx="2358521" cy="971156"/>
            </a:xfrm>
          </p:grpSpPr>
          <p:sp>
            <p:nvSpPr>
              <p:cNvPr id="15" name="Rechteck 14"/>
              <p:cNvSpPr/>
              <p:nvPr/>
            </p:nvSpPr>
            <p:spPr>
              <a:xfrm>
                <a:off x="821559" y="1786263"/>
                <a:ext cx="2358521" cy="971156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Flussdiagramm: Mehrere Dokumente 19"/>
              <p:cNvSpPr/>
              <p:nvPr/>
            </p:nvSpPr>
            <p:spPr>
              <a:xfrm>
                <a:off x="966779" y="2218769"/>
                <a:ext cx="596900" cy="406400"/>
              </a:xfrm>
              <a:prstGeom prst="flowChartMultidocument">
                <a:avLst/>
              </a:prstGeom>
              <a:solidFill>
                <a:srgbClr val="FFC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9" name="Textfeld 28"/>
              <p:cNvSpPr txBox="1"/>
              <p:nvPr/>
            </p:nvSpPr>
            <p:spPr>
              <a:xfrm>
                <a:off x="882015" y="1846288"/>
                <a:ext cx="81886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/>
                  <a:t>JSON</a:t>
                </a:r>
                <a:endParaRPr lang="en-US" b="1" dirty="0"/>
              </a:p>
            </p:txBody>
          </p:sp>
          <p:sp>
            <p:nvSpPr>
              <p:cNvPr id="30" name="Textfeld 29"/>
              <p:cNvSpPr txBox="1"/>
              <p:nvPr/>
            </p:nvSpPr>
            <p:spPr>
              <a:xfrm>
                <a:off x="1683247" y="1948676"/>
                <a:ext cx="148391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/>
                  <a:t>Coefficient</a:t>
                </a:r>
              </a:p>
              <a:p>
                <a:pPr algn="ctr"/>
                <a:r>
                  <a:rPr lang="en-US" dirty="0"/>
                  <a:t>database</a:t>
                </a:r>
              </a:p>
            </p:txBody>
          </p:sp>
        </p:grp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98ACF999-A6C2-4D95-BBD1-9E567E02C156}"/>
                </a:ext>
              </a:extLst>
            </p:cNvPr>
            <p:cNvGrpSpPr/>
            <p:nvPr/>
          </p:nvGrpSpPr>
          <p:grpSpPr>
            <a:xfrm>
              <a:off x="6317156" y="1251257"/>
              <a:ext cx="2358521" cy="971156"/>
              <a:chOff x="3218918" y="2384501"/>
              <a:chExt cx="2358521" cy="971156"/>
            </a:xfrm>
          </p:grpSpPr>
          <p:grpSp>
            <p:nvGrpSpPr>
              <p:cNvPr id="28" name="Gruppieren 27"/>
              <p:cNvGrpSpPr/>
              <p:nvPr/>
            </p:nvGrpSpPr>
            <p:grpSpPr>
              <a:xfrm>
                <a:off x="3218918" y="2384501"/>
                <a:ext cx="2358521" cy="971156"/>
                <a:chOff x="821559" y="1786263"/>
                <a:chExt cx="2358521" cy="971156"/>
              </a:xfrm>
            </p:grpSpPr>
            <p:sp>
              <p:nvSpPr>
                <p:cNvPr id="31" name="Rechteck 30"/>
                <p:cNvSpPr/>
                <p:nvPr/>
              </p:nvSpPr>
              <p:spPr>
                <a:xfrm>
                  <a:off x="821559" y="1786263"/>
                  <a:ext cx="2358521" cy="971156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Textfeld 33"/>
                <p:cNvSpPr txBox="1"/>
                <p:nvPr/>
              </p:nvSpPr>
              <p:spPr>
                <a:xfrm>
                  <a:off x="1683247" y="1948676"/>
                  <a:ext cx="1483917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dirty="0"/>
                    <a:t>Correlation equations</a:t>
                  </a:r>
                </a:p>
              </p:txBody>
            </p:sp>
          </p:grpSp>
          <p:pic>
            <p:nvPicPr>
              <p:cNvPr id="12" name="Grafik 1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4138" y="2497650"/>
                <a:ext cx="744858" cy="744858"/>
              </a:xfrm>
              <a:prstGeom prst="rect">
                <a:avLst/>
              </a:prstGeom>
            </p:spPr>
          </p:pic>
        </p:grp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9F4B179A-53A0-49B2-A596-015E10B71C89}"/>
                </a:ext>
              </a:extLst>
            </p:cNvPr>
            <p:cNvSpPr txBox="1"/>
            <p:nvPr/>
          </p:nvSpPr>
          <p:spPr>
            <a:xfrm>
              <a:off x="6506417" y="843822"/>
              <a:ext cx="198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u="sng" dirty="0" err="1"/>
                <a:t>SorpPropLib</a:t>
              </a:r>
              <a:endParaRPr lang="en-US" b="1" i="1" u="sng" dirty="0"/>
            </a:p>
          </p:txBody>
        </p:sp>
        <p:cxnSp>
          <p:nvCxnSpPr>
            <p:cNvPr id="7" name="Gerade Verbindung mit Pfeil 6">
              <a:extLst>
                <a:ext uri="{FF2B5EF4-FFF2-40B4-BE49-F238E27FC236}">
                  <a16:creationId xmlns:a16="http://schemas.microsoft.com/office/drawing/2014/main" id="{015A3AFC-8582-430C-92EE-2C5C0599BDC0}"/>
                </a:ext>
              </a:extLst>
            </p:cNvPr>
            <p:cNvCxnSpPr/>
            <p:nvPr/>
          </p:nvCxnSpPr>
          <p:spPr>
            <a:xfrm>
              <a:off x="7385276" y="2228946"/>
              <a:ext cx="0" cy="916871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31447090-8AC4-43F8-B27D-C1D5D50CA68E}"/>
                </a:ext>
              </a:extLst>
            </p:cNvPr>
            <p:cNvSpPr txBox="1"/>
            <p:nvPr/>
          </p:nvSpPr>
          <p:spPr>
            <a:xfrm>
              <a:off x="6213047" y="2179550"/>
              <a:ext cx="117222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9388" indent="-179388"/>
              <a:r>
                <a:rPr lang="en-US" sz="1200" dirty="0"/>
                <a:t>1)	Search coefficients for working pair and equation </a:t>
              </a:r>
            </a:p>
          </p:txBody>
        </p:sp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0FE70B89-BC73-4E9E-88D1-4E537185EF6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26187" y="2235479"/>
              <a:ext cx="0" cy="916871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608882A6-72C1-433D-8C1C-C8108B78DD0E}"/>
                </a:ext>
              </a:extLst>
            </p:cNvPr>
            <p:cNvSpPr txBox="1"/>
            <p:nvPr/>
          </p:nvSpPr>
          <p:spPr>
            <a:xfrm>
              <a:off x="7526187" y="2186083"/>
              <a:ext cx="117222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600" indent="-228600">
                <a:buAutoNum type="arabicParenR" startAt="2"/>
              </a:pPr>
              <a:r>
                <a:rPr lang="en-US" sz="1200" dirty="0"/>
                <a:t>Return coefficients and execute equation</a:t>
              </a: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C6C0821A-295E-4D82-BFB0-4EF1347B1BB6}"/>
              </a:ext>
            </a:extLst>
          </p:cNvPr>
          <p:cNvGrpSpPr/>
          <p:nvPr/>
        </p:nvGrpSpPr>
        <p:grpSpPr>
          <a:xfrm>
            <a:off x="288002" y="1253230"/>
            <a:ext cx="5888243" cy="369332"/>
            <a:chOff x="-30113" y="4416153"/>
            <a:chExt cx="5888243" cy="369332"/>
          </a:xfrm>
        </p:grpSpPr>
        <p:sp>
          <p:nvSpPr>
            <p:cNvPr id="23" name="Pfeil nach rechts 6">
              <a:extLst>
                <a:ext uri="{FF2B5EF4-FFF2-40B4-BE49-F238E27FC236}">
                  <a16:creationId xmlns:a16="http://schemas.microsoft.com/office/drawing/2014/main" id="{DE42E6D9-AA06-45FB-8EA8-55003B2A904C}"/>
                </a:ext>
              </a:extLst>
            </p:cNvPr>
            <p:cNvSpPr/>
            <p:nvPr/>
          </p:nvSpPr>
          <p:spPr>
            <a:xfrm>
              <a:off x="-30113" y="4465819"/>
              <a:ext cx="540000" cy="27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9B51E6E7-3E89-4B0B-A585-B5C9085D7F27}"/>
                </a:ext>
              </a:extLst>
            </p:cNvPr>
            <p:cNvSpPr txBox="1"/>
            <p:nvPr/>
          </p:nvSpPr>
          <p:spPr>
            <a:xfrm>
              <a:off x="577715" y="4416153"/>
              <a:ext cx="52804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Add object-oriented features by structs</a:t>
              </a: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2FD01C9E-7C8F-4EA3-ADD4-B374D779F0C6}"/>
              </a:ext>
            </a:extLst>
          </p:cNvPr>
          <p:cNvGrpSpPr/>
          <p:nvPr/>
        </p:nvGrpSpPr>
        <p:grpSpPr>
          <a:xfrm>
            <a:off x="287338" y="1622562"/>
            <a:ext cx="5888243" cy="369332"/>
            <a:chOff x="-30113" y="4416153"/>
            <a:chExt cx="5888243" cy="369332"/>
          </a:xfrm>
        </p:grpSpPr>
        <p:sp>
          <p:nvSpPr>
            <p:cNvPr id="26" name="Pfeil nach rechts 6">
              <a:extLst>
                <a:ext uri="{FF2B5EF4-FFF2-40B4-BE49-F238E27FC236}">
                  <a16:creationId xmlns:a16="http://schemas.microsoft.com/office/drawing/2014/main" id="{1067FB04-5BC6-429B-87C5-8433EA12A87C}"/>
                </a:ext>
              </a:extLst>
            </p:cNvPr>
            <p:cNvSpPr/>
            <p:nvPr/>
          </p:nvSpPr>
          <p:spPr>
            <a:xfrm>
              <a:off x="-30113" y="4465819"/>
              <a:ext cx="540000" cy="27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18D70CE5-2744-42F4-87CA-DC6D10D3762A}"/>
                </a:ext>
              </a:extLst>
            </p:cNvPr>
            <p:cNvSpPr txBox="1"/>
            <p:nvPr/>
          </p:nvSpPr>
          <p:spPr>
            <a:xfrm>
              <a:off x="577715" y="4416153"/>
              <a:ext cx="52804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Use pointer to struct as argument of func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3521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itialization: Layout of the </a:t>
            </a:r>
            <a:r>
              <a:rPr lang="en-US" dirty="0" err="1"/>
              <a:t>WorkingPair</a:t>
            </a:r>
            <a:r>
              <a:rPr lang="en-US" dirty="0"/>
              <a:t>-struc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16/01/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SorpPropLib</a:t>
            </a:r>
            <a:r>
              <a:rPr lang="en-US" dirty="0"/>
              <a:t>: C-Wrapper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B0E222F7-1E7E-4604-BF95-09EAD5057C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8" y="766286"/>
            <a:ext cx="8567999" cy="3610928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300"/>
              </a:spcAft>
            </a:pPr>
            <a:r>
              <a:rPr lang="en-US" dirty="0">
                <a:sym typeface="Wingdings" panose="05000000000000000000" pitchFamily="2" charset="2"/>
              </a:rPr>
              <a:t>Structure is set up during initialization and contains the following data:</a:t>
            </a:r>
          </a:p>
          <a:p>
            <a:pPr lvl="1">
              <a:lnSpc>
                <a:spcPct val="150000"/>
              </a:lnSpc>
              <a:spcAft>
                <a:spcPts val="0"/>
              </a:spcAft>
            </a:pPr>
            <a:r>
              <a:rPr lang="en-US" dirty="0">
                <a:sym typeface="Wingdings" panose="05000000000000000000" pitchFamily="2" charset="2"/>
              </a:rPr>
              <a:t>Strings indicating working pair, adsorption equation, absorption equation, …</a:t>
            </a:r>
          </a:p>
          <a:p>
            <a:pPr lvl="1">
              <a:lnSpc>
                <a:spcPct val="150000"/>
              </a:lnSpc>
              <a:spcAft>
                <a:spcPts val="0"/>
              </a:spcAft>
            </a:pPr>
            <a:r>
              <a:rPr lang="en-US" dirty="0">
                <a:sym typeface="Wingdings" panose="05000000000000000000" pitchFamily="2" charset="2"/>
              </a:rPr>
              <a:t>Arrays containing coefficients for equilibrium equations and refrigerant equations</a:t>
            </a:r>
          </a:p>
          <a:p>
            <a:pPr lvl="1">
              <a:lnSpc>
                <a:spcPct val="150000"/>
              </a:lnSpc>
              <a:spcAft>
                <a:spcPts val="300"/>
              </a:spcAft>
            </a:pPr>
            <a:r>
              <a:rPr lang="en-US" dirty="0">
                <a:sym typeface="Wingdings" panose="05000000000000000000" pitchFamily="2" charset="2"/>
              </a:rPr>
              <a:t>Sub-structs containing function pointers referring to equilibrium and refrigerant equations</a:t>
            </a:r>
          </a:p>
          <a:p>
            <a:pPr lvl="2">
              <a:lnSpc>
                <a:spcPct val="150000"/>
              </a:lnSpc>
              <a:spcAft>
                <a:spcPts val="0"/>
              </a:spcAft>
            </a:pPr>
            <a:r>
              <a:rPr lang="en-US" dirty="0">
                <a:sym typeface="Wingdings" panose="05000000000000000000" pitchFamily="2" charset="2"/>
              </a:rPr>
              <a:t>Adsorption-struct: Equilibrium equations for adsorption</a:t>
            </a:r>
          </a:p>
          <a:p>
            <a:pPr lvl="2">
              <a:lnSpc>
                <a:spcPct val="150000"/>
              </a:lnSpc>
              <a:spcAft>
                <a:spcPts val="0"/>
              </a:spcAft>
            </a:pPr>
            <a:r>
              <a:rPr lang="en-US" dirty="0">
                <a:sym typeface="Wingdings" panose="05000000000000000000" pitchFamily="2" charset="2"/>
              </a:rPr>
              <a:t>Absorption-struct: Equilibrium equations for absorption (</a:t>
            </a:r>
            <a:r>
              <a:rPr lang="en-US" dirty="0">
                <a:solidFill>
                  <a:srgbClr val="FF0000"/>
                </a:solidFill>
                <a:sym typeface="Wingdings" panose="05000000000000000000" pitchFamily="2" charset="2"/>
              </a:rPr>
              <a:t>does not exist yet</a:t>
            </a:r>
            <a:r>
              <a:rPr lang="en-US" dirty="0">
                <a:sym typeface="Wingdings" panose="05000000000000000000" pitchFamily="2" charset="2"/>
              </a:rPr>
              <a:t>)</a:t>
            </a:r>
          </a:p>
          <a:p>
            <a:pPr lvl="2">
              <a:lnSpc>
                <a:spcPct val="150000"/>
              </a:lnSpc>
              <a:spcAft>
                <a:spcPts val="0"/>
              </a:spcAft>
            </a:pPr>
            <a:r>
              <a:rPr lang="en-US" dirty="0">
                <a:sym typeface="Wingdings" panose="05000000000000000000" pitchFamily="2" charset="2"/>
              </a:rPr>
              <a:t>Refrigerant-struct: Equations for fluid properties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B23932E9-7FB5-4F9F-803D-D9A5196315E1}"/>
              </a:ext>
            </a:extLst>
          </p:cNvPr>
          <p:cNvGrpSpPr/>
          <p:nvPr/>
        </p:nvGrpSpPr>
        <p:grpSpPr>
          <a:xfrm>
            <a:off x="288002" y="3481730"/>
            <a:ext cx="8568661" cy="369332"/>
            <a:chOff x="-30113" y="4416153"/>
            <a:chExt cx="8568661" cy="369332"/>
          </a:xfrm>
        </p:grpSpPr>
        <p:sp>
          <p:nvSpPr>
            <p:cNvPr id="37" name="Pfeil nach rechts 6">
              <a:extLst>
                <a:ext uri="{FF2B5EF4-FFF2-40B4-BE49-F238E27FC236}">
                  <a16:creationId xmlns:a16="http://schemas.microsoft.com/office/drawing/2014/main" id="{BB46D81C-A72D-46B4-9A07-9BC23C2AB0C4}"/>
                </a:ext>
              </a:extLst>
            </p:cNvPr>
            <p:cNvSpPr/>
            <p:nvPr/>
          </p:nvSpPr>
          <p:spPr>
            <a:xfrm>
              <a:off x="-30113" y="4465819"/>
              <a:ext cx="540000" cy="27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67A28BDA-66A0-4791-B521-C1ABEE9EE40D}"/>
                </a:ext>
              </a:extLst>
            </p:cNvPr>
            <p:cNvSpPr txBox="1"/>
            <p:nvPr/>
          </p:nvSpPr>
          <p:spPr>
            <a:xfrm>
              <a:off x="577715" y="4416153"/>
              <a:ext cx="79608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Coefficients selected from database once during initialization</a:t>
              </a: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6FE69DD3-6EDF-4EA7-9333-E1699674B1F5}"/>
              </a:ext>
            </a:extLst>
          </p:cNvPr>
          <p:cNvGrpSpPr/>
          <p:nvPr/>
        </p:nvGrpSpPr>
        <p:grpSpPr>
          <a:xfrm>
            <a:off x="288002" y="3815046"/>
            <a:ext cx="8568661" cy="369332"/>
            <a:chOff x="-30113" y="4416153"/>
            <a:chExt cx="8568661" cy="369332"/>
          </a:xfrm>
        </p:grpSpPr>
        <p:sp>
          <p:nvSpPr>
            <p:cNvPr id="41" name="Pfeil nach rechts 6">
              <a:extLst>
                <a:ext uri="{FF2B5EF4-FFF2-40B4-BE49-F238E27FC236}">
                  <a16:creationId xmlns:a16="http://schemas.microsoft.com/office/drawing/2014/main" id="{48EDA9DE-0B08-461B-9A0B-4681A3A2BB97}"/>
                </a:ext>
              </a:extLst>
            </p:cNvPr>
            <p:cNvSpPr/>
            <p:nvPr/>
          </p:nvSpPr>
          <p:spPr>
            <a:xfrm>
              <a:off x="-30113" y="4465819"/>
              <a:ext cx="540000" cy="27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8669F2EF-BF10-4C57-814F-8A56F79429C7}"/>
                </a:ext>
              </a:extLst>
            </p:cNvPr>
            <p:cNvSpPr txBox="1"/>
            <p:nvPr/>
          </p:nvSpPr>
          <p:spPr>
            <a:xfrm>
              <a:off x="577715" y="4416153"/>
              <a:ext cx="79608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Function pointers set to required equations once during initialization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466D47A4-04DB-4D89-9DF0-F684EA7E8FAD}"/>
              </a:ext>
            </a:extLst>
          </p:cNvPr>
          <p:cNvGrpSpPr/>
          <p:nvPr/>
        </p:nvGrpSpPr>
        <p:grpSpPr>
          <a:xfrm>
            <a:off x="288002" y="4148363"/>
            <a:ext cx="8635163" cy="369332"/>
            <a:chOff x="-30113" y="4416153"/>
            <a:chExt cx="8635163" cy="369332"/>
          </a:xfrm>
        </p:grpSpPr>
        <p:sp>
          <p:nvSpPr>
            <p:cNvPr id="44" name="Pfeil nach rechts 6">
              <a:extLst>
                <a:ext uri="{FF2B5EF4-FFF2-40B4-BE49-F238E27FC236}">
                  <a16:creationId xmlns:a16="http://schemas.microsoft.com/office/drawing/2014/main" id="{2C8BA0AC-246E-46AD-9D66-0B9BD443530E}"/>
                </a:ext>
              </a:extLst>
            </p:cNvPr>
            <p:cNvSpPr/>
            <p:nvPr/>
          </p:nvSpPr>
          <p:spPr>
            <a:xfrm>
              <a:off x="-30113" y="4465819"/>
              <a:ext cx="540000" cy="27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71165BC6-C9D5-46F5-91F2-F37A23300114}"/>
                </a:ext>
              </a:extLst>
            </p:cNvPr>
            <p:cNvSpPr txBox="1"/>
            <p:nvPr/>
          </p:nvSpPr>
          <p:spPr>
            <a:xfrm>
              <a:off x="577715" y="4416153"/>
              <a:ext cx="802733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For complete </a:t>
              </a:r>
              <a:r>
                <a:rPr lang="en-US" b="1" dirty="0" err="1"/>
                <a:t>WorkingPair</a:t>
              </a:r>
              <a:r>
                <a:rPr lang="en-US" b="1" dirty="0"/>
                <a:t>-struct, memory allocated during initializ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29391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: Layout of the equilibrium equation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16/01/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SorpPropLib</a:t>
            </a:r>
            <a:r>
              <a:rPr lang="en-US" dirty="0"/>
              <a:t>: C-Wrapper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B0E222F7-1E7E-4604-BF95-09EAD5057C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9" y="766286"/>
            <a:ext cx="8569324" cy="3610928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dirty="0">
                <a:sym typeface="Wingdings" panose="05000000000000000000" pitchFamily="2" charset="2"/>
              </a:rPr>
              <a:t>For the </a:t>
            </a:r>
            <a:r>
              <a:rPr lang="en-US" dirty="0" err="1">
                <a:sym typeface="Wingdings" panose="05000000000000000000" pitchFamily="2" charset="2"/>
              </a:rPr>
              <a:t>WorkingPair</a:t>
            </a:r>
            <a:r>
              <a:rPr lang="en-US" dirty="0">
                <a:sym typeface="Wingdings" panose="05000000000000000000" pitchFamily="2" charset="2"/>
              </a:rPr>
              <a:t>-struct created during initialization, a pointer exists that refers to address of memory that contains data of the </a:t>
            </a:r>
            <a:r>
              <a:rPr lang="en-US" dirty="0" err="1">
                <a:sym typeface="Wingdings" panose="05000000000000000000" pitchFamily="2" charset="2"/>
              </a:rPr>
              <a:t>WorkingPair</a:t>
            </a:r>
            <a:r>
              <a:rPr lang="en-US" dirty="0">
                <a:sym typeface="Wingdings" panose="05000000000000000000" pitchFamily="2" charset="2"/>
              </a:rPr>
              <a:t>-struct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endParaRPr lang="en-US" dirty="0">
              <a:sym typeface="Wingdings" panose="05000000000000000000" pitchFamily="2" charset="2"/>
            </a:endParaRPr>
          </a:p>
          <a:p>
            <a:pPr marL="0" indent="0">
              <a:lnSpc>
                <a:spcPct val="150000"/>
              </a:lnSpc>
              <a:spcAft>
                <a:spcPts val="0"/>
              </a:spcAft>
              <a:buNone/>
            </a:pPr>
            <a:endParaRPr lang="en-US" dirty="0"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>
                <a:sym typeface="Wingdings" panose="05000000000000000000" pitchFamily="2" charset="2"/>
              </a:rPr>
              <a:t>Examples for equilibrium equations are:</a:t>
            </a:r>
          </a:p>
          <a:p>
            <a:pPr lvl="1">
              <a:lnSpc>
                <a:spcPct val="150000"/>
              </a:lnSpc>
              <a:spcAft>
                <a:spcPts val="0"/>
              </a:spcAft>
            </a:pPr>
            <a:r>
              <a:rPr lang="en-US" dirty="0" err="1">
                <a:sym typeface="Wingdings" panose="05000000000000000000" pitchFamily="2" charset="2"/>
              </a:rPr>
              <a:t>p_wT</a:t>
            </a:r>
            <a:r>
              <a:rPr lang="en-US" dirty="0">
                <a:sym typeface="Wingdings" panose="05000000000000000000" pitchFamily="2" charset="2"/>
              </a:rPr>
              <a:t>(double w, double T, void *</a:t>
            </a:r>
            <a:r>
              <a:rPr lang="en-US" dirty="0" err="1">
                <a:sym typeface="Wingdings" panose="05000000000000000000" pitchFamily="2" charset="2"/>
              </a:rPr>
              <a:t>workingPair</a:t>
            </a:r>
            <a:r>
              <a:rPr lang="en-US" dirty="0">
                <a:sym typeface="Wingdings" panose="05000000000000000000" pitchFamily="2" charset="2"/>
              </a:rPr>
              <a:t>)</a:t>
            </a:r>
          </a:p>
          <a:p>
            <a:pPr marL="216100" lvl="1" indent="0">
              <a:lnSpc>
                <a:spcPct val="150000"/>
              </a:lnSpc>
              <a:spcAft>
                <a:spcPts val="0"/>
              </a:spcAft>
              <a:buNone/>
            </a:pPr>
            <a:r>
              <a:rPr lang="en-US" dirty="0">
                <a:sym typeface="Wingdings" panose="05000000000000000000" pitchFamily="2" charset="2"/>
              </a:rPr>
              <a:t>	 Returns p / (Pa) depending on w / (kg/kg) and T / (K)</a:t>
            </a:r>
          </a:p>
          <a:p>
            <a:pPr lvl="1">
              <a:lnSpc>
                <a:spcPct val="150000"/>
              </a:lnSpc>
              <a:spcAft>
                <a:spcPts val="0"/>
              </a:spcAft>
            </a:pPr>
            <a:r>
              <a:rPr lang="en-US" dirty="0" err="1">
                <a:sym typeface="Wingdings" panose="05000000000000000000" pitchFamily="2" charset="2"/>
              </a:rPr>
              <a:t>w_pT</a:t>
            </a:r>
            <a:r>
              <a:rPr lang="en-US" dirty="0">
                <a:sym typeface="Wingdings" panose="05000000000000000000" pitchFamily="2" charset="2"/>
              </a:rPr>
              <a:t>(double p, double T, void *</a:t>
            </a:r>
            <a:r>
              <a:rPr lang="en-US" dirty="0" err="1">
                <a:sym typeface="Wingdings" panose="05000000000000000000" pitchFamily="2" charset="2"/>
              </a:rPr>
              <a:t>workingPair</a:t>
            </a:r>
            <a:r>
              <a:rPr lang="en-US" dirty="0">
                <a:sym typeface="Wingdings" panose="05000000000000000000" pitchFamily="2" charset="2"/>
              </a:rPr>
              <a:t>)</a:t>
            </a:r>
          </a:p>
          <a:p>
            <a:pPr marL="216100" lvl="1" indent="0">
              <a:lnSpc>
                <a:spcPct val="150000"/>
              </a:lnSpc>
              <a:spcAft>
                <a:spcPts val="0"/>
              </a:spcAft>
              <a:buNone/>
            </a:pPr>
            <a:r>
              <a:rPr lang="en-US" dirty="0">
                <a:sym typeface="Wingdings" panose="05000000000000000000" pitchFamily="2" charset="2"/>
              </a:rPr>
              <a:t>	 Returns w / (kg/kg) depending on p / (Pa) and T / (K)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45AB8D79-14A4-43DD-8702-BF9BB41E5640}"/>
              </a:ext>
            </a:extLst>
          </p:cNvPr>
          <p:cNvGrpSpPr/>
          <p:nvPr/>
        </p:nvGrpSpPr>
        <p:grpSpPr>
          <a:xfrm>
            <a:off x="288002" y="1683414"/>
            <a:ext cx="8568661" cy="646331"/>
            <a:chOff x="-30113" y="4277654"/>
            <a:chExt cx="8568661" cy="646331"/>
          </a:xfrm>
        </p:grpSpPr>
        <p:sp>
          <p:nvSpPr>
            <p:cNvPr id="7" name="Pfeil nach rechts 6">
              <a:extLst>
                <a:ext uri="{FF2B5EF4-FFF2-40B4-BE49-F238E27FC236}">
                  <a16:creationId xmlns:a16="http://schemas.microsoft.com/office/drawing/2014/main" id="{CE7A5960-B91D-49D8-B7B7-C0E19B322E08}"/>
                </a:ext>
              </a:extLst>
            </p:cNvPr>
            <p:cNvSpPr/>
            <p:nvPr/>
          </p:nvSpPr>
          <p:spPr>
            <a:xfrm>
              <a:off x="-30113" y="4465819"/>
              <a:ext cx="540000" cy="27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4B6837C7-06DE-4B56-974B-2FD6EDD7C66D}"/>
                </a:ext>
              </a:extLst>
            </p:cNvPr>
            <p:cNvSpPr txBox="1"/>
            <p:nvPr/>
          </p:nvSpPr>
          <p:spPr>
            <a:xfrm>
              <a:off x="577715" y="4277654"/>
              <a:ext cx="796083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Pointer referring to </a:t>
              </a:r>
              <a:r>
                <a:rPr lang="en-US" b="1" dirty="0" err="1"/>
                <a:t>WorkingPair</a:t>
              </a:r>
              <a:r>
                <a:rPr lang="en-US" b="1" dirty="0"/>
                <a:t>-struct is used by all equilibrium equations as argument!</a:t>
              </a:r>
            </a:p>
          </p:txBody>
        </p:sp>
      </p:grp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1A1496FA-D883-48AB-B6AC-74FD48EF6FF6}"/>
              </a:ext>
            </a:extLst>
          </p:cNvPr>
          <p:cNvSpPr/>
          <p:nvPr/>
        </p:nvSpPr>
        <p:spPr>
          <a:xfrm rot="21196327">
            <a:off x="5835548" y="2196164"/>
            <a:ext cx="2938839" cy="2156283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/>
              <a:t>Conventions for units:</a:t>
            </a:r>
          </a:p>
          <a:p>
            <a:r>
              <a:rPr lang="en-US" sz="1600" dirty="0"/>
              <a:t>Inputs: SI-units</a:t>
            </a:r>
          </a:p>
          <a:p>
            <a:r>
              <a:rPr lang="en-US" sz="1600" dirty="0"/>
              <a:t>Output: SI-units</a:t>
            </a:r>
          </a:p>
          <a:p>
            <a:r>
              <a:rPr lang="en-US" sz="1600" dirty="0"/>
              <a:t>Coefficients: SI-units</a:t>
            </a:r>
          </a:p>
          <a:p>
            <a:endParaRPr lang="en-US" sz="1600" dirty="0"/>
          </a:p>
          <a:p>
            <a:r>
              <a:rPr lang="en-US" sz="1600" dirty="0"/>
              <a:t>For all equations, analytical solutions are implemented when possible</a:t>
            </a:r>
          </a:p>
        </p:txBody>
      </p:sp>
    </p:spTree>
    <p:extLst>
      <p:ext uri="{BB962C8B-B14F-4D97-AF65-F5344CB8AC3E}">
        <p14:creationId xmlns:p14="http://schemas.microsoft.com/office/powerpoint/2010/main" val="39642442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d of program: Layout of the </a:t>
            </a:r>
            <a:r>
              <a:rPr lang="en-US" dirty="0" err="1"/>
              <a:t>WorkingPair</a:t>
            </a:r>
            <a:r>
              <a:rPr lang="en-US" dirty="0"/>
              <a:t>-destructo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16/01/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SorpPropLib</a:t>
            </a:r>
            <a:r>
              <a:rPr lang="en-US" dirty="0"/>
              <a:t>: C-Wrapper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B0E222F7-1E7E-4604-BF95-09EAD5057C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7339" y="766286"/>
            <a:ext cx="8569324" cy="436059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dirty="0">
                <a:sym typeface="Wingdings" panose="05000000000000000000" pitchFamily="2" charset="2"/>
              </a:rPr>
              <a:t>C does not free automatically allocated memory when closing the program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endParaRPr lang="en-US" dirty="0">
              <a:sym typeface="Wingdings" panose="05000000000000000000" pitchFamily="2" charset="2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0D83427-625D-43F8-A06A-7DE3C28C3548}"/>
              </a:ext>
            </a:extLst>
          </p:cNvPr>
          <p:cNvGrpSpPr/>
          <p:nvPr/>
        </p:nvGrpSpPr>
        <p:grpSpPr>
          <a:xfrm>
            <a:off x="288002" y="1252011"/>
            <a:ext cx="8568661" cy="369332"/>
            <a:chOff x="-30113" y="4416153"/>
            <a:chExt cx="8568661" cy="369332"/>
          </a:xfrm>
        </p:grpSpPr>
        <p:sp>
          <p:nvSpPr>
            <p:cNvPr id="7" name="Pfeil nach rechts 6">
              <a:extLst>
                <a:ext uri="{FF2B5EF4-FFF2-40B4-BE49-F238E27FC236}">
                  <a16:creationId xmlns:a16="http://schemas.microsoft.com/office/drawing/2014/main" id="{0E8CA97A-2984-4B54-B6A8-B2BB6319236B}"/>
                </a:ext>
              </a:extLst>
            </p:cNvPr>
            <p:cNvSpPr/>
            <p:nvPr/>
          </p:nvSpPr>
          <p:spPr>
            <a:xfrm>
              <a:off x="-30113" y="4465819"/>
              <a:ext cx="540000" cy="27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C1709B0D-D014-403F-9132-73966AD65D7B}"/>
                </a:ext>
              </a:extLst>
            </p:cNvPr>
            <p:cNvSpPr txBox="1"/>
            <p:nvPr/>
          </p:nvSpPr>
          <p:spPr>
            <a:xfrm>
              <a:off x="577715" y="4416153"/>
              <a:ext cx="79608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User must free allocated memory before closing the program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07BC9DE-BF20-49AD-BF35-1E9E07A8752E}"/>
              </a:ext>
            </a:extLst>
          </p:cNvPr>
          <p:cNvGrpSpPr/>
          <p:nvPr/>
        </p:nvGrpSpPr>
        <p:grpSpPr>
          <a:xfrm>
            <a:off x="287337" y="1621343"/>
            <a:ext cx="8568661" cy="369332"/>
            <a:chOff x="-30113" y="4416153"/>
            <a:chExt cx="8568661" cy="369332"/>
          </a:xfrm>
        </p:grpSpPr>
        <p:sp>
          <p:nvSpPr>
            <p:cNvPr id="10" name="Pfeil nach rechts 6">
              <a:extLst>
                <a:ext uri="{FF2B5EF4-FFF2-40B4-BE49-F238E27FC236}">
                  <a16:creationId xmlns:a16="http://schemas.microsoft.com/office/drawing/2014/main" id="{896C77AC-B697-4A57-9945-9B7855A59AE8}"/>
                </a:ext>
              </a:extLst>
            </p:cNvPr>
            <p:cNvSpPr/>
            <p:nvPr/>
          </p:nvSpPr>
          <p:spPr>
            <a:xfrm>
              <a:off x="-30113" y="4465819"/>
              <a:ext cx="540000" cy="27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4EAA36D9-48D3-4D03-B6D9-6FAC5B310651}"/>
                </a:ext>
              </a:extLst>
            </p:cNvPr>
            <p:cNvSpPr txBox="1"/>
            <p:nvPr/>
          </p:nvSpPr>
          <p:spPr>
            <a:xfrm>
              <a:off x="577715" y="4416153"/>
              <a:ext cx="79608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We free memory by calling destructor of </a:t>
              </a:r>
              <a:r>
                <a:rPr lang="en-US" b="1" dirty="0" err="1"/>
                <a:t>WorkingPair</a:t>
              </a:r>
              <a:r>
                <a:rPr lang="en-US" b="1" dirty="0"/>
                <a:t>-stru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245566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 of the C wrapper: Data flow of user inpu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16/01/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SorpPropLib</a:t>
            </a:r>
            <a:r>
              <a:rPr lang="en-US" dirty="0"/>
              <a:t>: C-Wrapper</a:t>
            </a:r>
          </a:p>
        </p:txBody>
      </p: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85819916-62C4-48C3-BEB2-3595B21B284D}"/>
              </a:ext>
            </a:extLst>
          </p:cNvPr>
          <p:cNvGrpSpPr/>
          <p:nvPr/>
        </p:nvGrpSpPr>
        <p:grpSpPr>
          <a:xfrm>
            <a:off x="287338" y="668552"/>
            <a:ext cx="8741830" cy="3833266"/>
            <a:chOff x="287338" y="668552"/>
            <a:chExt cx="8741830" cy="3833266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DF54EE93-6814-4537-97A2-CA531AD9371B}"/>
                </a:ext>
              </a:extLst>
            </p:cNvPr>
            <p:cNvGrpSpPr/>
            <p:nvPr/>
          </p:nvGrpSpPr>
          <p:grpSpPr>
            <a:xfrm>
              <a:off x="287338" y="668552"/>
              <a:ext cx="2450996" cy="1554272"/>
              <a:chOff x="250929" y="916202"/>
              <a:chExt cx="2450996" cy="1554272"/>
            </a:xfrm>
          </p:grpSpPr>
          <p:cxnSp>
            <p:nvCxnSpPr>
              <p:cNvPr id="9" name="Gerade Verbindung mit Pfeil 8">
                <a:extLst>
                  <a:ext uri="{FF2B5EF4-FFF2-40B4-BE49-F238E27FC236}">
                    <a16:creationId xmlns:a16="http://schemas.microsoft.com/office/drawing/2014/main" id="{3DA9AE92-F005-4588-AD27-D617806C3A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0242" y="1191880"/>
                <a:ext cx="2361683" cy="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C7502386-F878-4240-BC58-38A032BBD01D}"/>
                  </a:ext>
                </a:extLst>
              </p:cNvPr>
              <p:cNvSpPr txBox="1"/>
              <p:nvPr/>
            </p:nvSpPr>
            <p:spPr>
              <a:xfrm>
                <a:off x="250929" y="916202"/>
                <a:ext cx="240416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solidFill>
                      <a:srgbClr val="FF0000"/>
                    </a:solidFill>
                  </a:rPr>
                  <a:t>(1) </a:t>
                </a:r>
                <a:r>
                  <a:rPr lang="en-US" sz="1050" dirty="0" err="1"/>
                  <a:t>WorkingPair</a:t>
                </a:r>
                <a:r>
                  <a:rPr lang="en-US" sz="1050" dirty="0"/>
                  <a:t> *</a:t>
                </a:r>
                <a:r>
                  <a:rPr lang="en-US" sz="1050" dirty="0" err="1"/>
                  <a:t>newWorkingPair</a:t>
                </a:r>
                <a:r>
                  <a:rPr lang="en-US" sz="1050" dirty="0"/>
                  <a:t>(…)</a:t>
                </a:r>
              </a:p>
            </p:txBody>
          </p:sp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A18D216B-0DC3-454B-8D91-DD80A20DB88A}"/>
                  </a:ext>
                </a:extLst>
              </p:cNvPr>
              <p:cNvSpPr txBox="1"/>
              <p:nvPr/>
            </p:nvSpPr>
            <p:spPr>
              <a:xfrm>
                <a:off x="250929" y="1170118"/>
                <a:ext cx="2404164" cy="13003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1050" u="sng" dirty="0"/>
                  <a:t>Inputs by user are strings indicating:</a:t>
                </a:r>
              </a:p>
              <a:p>
                <a:pPr marL="228600" indent="-228600">
                  <a:buAutoNum type="arabicPeriod"/>
                </a:pPr>
                <a:r>
                  <a:rPr lang="en-US" sz="1050" dirty="0"/>
                  <a:t>Sorbent</a:t>
                </a:r>
              </a:p>
              <a:p>
                <a:pPr marL="228600" indent="-228600">
                  <a:buAutoNum type="arabicPeriod"/>
                </a:pPr>
                <a:r>
                  <a:rPr lang="en-US" sz="1050" dirty="0"/>
                  <a:t>Sub-type of sorbent</a:t>
                </a:r>
              </a:p>
              <a:p>
                <a:pPr marL="228600" indent="-228600">
                  <a:buAutoNum type="arabicPeriod"/>
                </a:pPr>
                <a:r>
                  <a:rPr lang="en-US" sz="1050" dirty="0"/>
                  <a:t>Refrigerant</a:t>
                </a:r>
              </a:p>
              <a:p>
                <a:pPr marL="228600" indent="-228600">
                  <a:buAutoNum type="arabicPeriod"/>
                </a:pPr>
                <a:r>
                  <a:rPr lang="en-US" sz="1050" dirty="0"/>
                  <a:t>Isotherm equation</a:t>
                </a:r>
              </a:p>
              <a:p>
                <a:pPr marL="228600" indent="-228600">
                  <a:buAutoNum type="arabicPeriod"/>
                </a:pPr>
                <a:r>
                  <a:rPr lang="en-US" sz="1050" dirty="0"/>
                  <a:t>Vapor pressure equation</a:t>
                </a:r>
              </a:p>
              <a:p>
                <a:pPr marL="228600" indent="-228600">
                  <a:buAutoNum type="arabicPeriod"/>
                </a:pPr>
                <a:r>
                  <a:rPr lang="en-US" sz="1050" dirty="0"/>
                  <a:t>Saturated liquid density equation</a:t>
                </a:r>
              </a:p>
            </p:txBody>
          </p:sp>
        </p:grp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F921E3B8-9EC4-482D-AD27-9993816D292B}"/>
                </a:ext>
              </a:extLst>
            </p:cNvPr>
            <p:cNvGrpSpPr/>
            <p:nvPr/>
          </p:nvGrpSpPr>
          <p:grpSpPr>
            <a:xfrm>
              <a:off x="2738334" y="668552"/>
              <a:ext cx="6118329" cy="2180628"/>
              <a:chOff x="2738334" y="668552"/>
              <a:chExt cx="6118329" cy="2180628"/>
            </a:xfrm>
          </p:grpSpPr>
          <p:sp>
            <p:nvSpPr>
              <p:cNvPr id="7" name="Rechteck 6">
                <a:extLst>
                  <a:ext uri="{FF2B5EF4-FFF2-40B4-BE49-F238E27FC236}">
                    <a16:creationId xmlns:a16="http://schemas.microsoft.com/office/drawing/2014/main" id="{284A9458-946D-424F-8305-96F8CFBC5919}"/>
                  </a:ext>
                </a:extLst>
              </p:cNvPr>
              <p:cNvSpPr/>
              <p:nvPr/>
            </p:nvSpPr>
            <p:spPr>
              <a:xfrm>
                <a:off x="2738334" y="668552"/>
                <a:ext cx="6118329" cy="216520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2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uppieren 15">
                <a:extLst>
                  <a:ext uri="{FF2B5EF4-FFF2-40B4-BE49-F238E27FC236}">
                    <a16:creationId xmlns:a16="http://schemas.microsoft.com/office/drawing/2014/main" id="{8E3B898D-85A3-488C-80A8-CA9990892DFB}"/>
                  </a:ext>
                </a:extLst>
              </p:cNvPr>
              <p:cNvGrpSpPr/>
              <p:nvPr/>
            </p:nvGrpSpPr>
            <p:grpSpPr>
              <a:xfrm>
                <a:off x="2766343" y="694320"/>
                <a:ext cx="1830923" cy="360000"/>
                <a:chOff x="2807625" y="697496"/>
                <a:chExt cx="1830923" cy="360000"/>
              </a:xfrm>
            </p:grpSpPr>
            <p:sp>
              <p:nvSpPr>
                <p:cNvPr id="14" name="Ellipse 13">
                  <a:extLst>
                    <a:ext uri="{FF2B5EF4-FFF2-40B4-BE49-F238E27FC236}">
                      <a16:creationId xmlns:a16="http://schemas.microsoft.com/office/drawing/2014/main" id="{7D60D178-3D80-4B5E-8EA1-49359BCF1223}"/>
                    </a:ext>
                  </a:extLst>
                </p:cNvPr>
                <p:cNvSpPr/>
                <p:nvPr/>
              </p:nvSpPr>
              <p:spPr>
                <a:xfrm>
                  <a:off x="2807625" y="697496"/>
                  <a:ext cx="360000" cy="360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b="1" dirty="0"/>
                    <a:t>1</a:t>
                  </a:r>
                </a:p>
              </p:txBody>
            </p:sp>
            <p:sp>
              <p:nvSpPr>
                <p:cNvPr id="15" name="Rechteck: abgerundete Ecken 14">
                  <a:extLst>
                    <a:ext uri="{FF2B5EF4-FFF2-40B4-BE49-F238E27FC236}">
                      <a16:creationId xmlns:a16="http://schemas.microsoft.com/office/drawing/2014/main" id="{ADE0C51A-7991-402F-9445-1C22FF4D5E1C}"/>
                    </a:ext>
                  </a:extLst>
                </p:cNvPr>
                <p:cNvSpPr/>
                <p:nvPr/>
              </p:nvSpPr>
              <p:spPr>
                <a:xfrm>
                  <a:off x="3208679" y="733496"/>
                  <a:ext cx="1429869" cy="288000"/>
                </a:xfrm>
                <a:prstGeom prst="roundRect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dirty="0"/>
                    <a:t>Initialization</a:t>
                  </a:r>
                </a:p>
              </p:txBody>
            </p:sp>
          </p:grpSp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496CAD3A-1D2E-4770-911F-D5AC5D994565}"/>
                  </a:ext>
                </a:extLst>
              </p:cNvPr>
              <p:cNvSpPr txBox="1"/>
              <p:nvPr/>
            </p:nvSpPr>
            <p:spPr>
              <a:xfrm>
                <a:off x="2775293" y="1065553"/>
                <a:ext cx="1796707" cy="15850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050" u="sng" dirty="0"/>
                  <a:t>Create </a:t>
                </a:r>
                <a:r>
                  <a:rPr lang="en-US" sz="1050" u="sng" dirty="0" err="1"/>
                  <a:t>WorkingPair</a:t>
                </a:r>
                <a:r>
                  <a:rPr lang="en-US" sz="1050" u="sng" dirty="0"/>
                  <a:t>-struct:</a:t>
                </a:r>
              </a:p>
              <a:p>
                <a:pPr marL="228600" indent="-228600">
                  <a:buAutoNum type="arabicPeriod"/>
                </a:pPr>
                <a:r>
                  <a:rPr lang="en-US" sz="1050" dirty="0"/>
                  <a:t>Save strings as attributes of struct</a:t>
                </a:r>
              </a:p>
              <a:p>
                <a:pPr marL="228600" indent="-228600">
                  <a:buAutoNum type="arabicPeriod"/>
                </a:pPr>
                <a:r>
                  <a:rPr lang="en-US" sz="1050" dirty="0"/>
                  <a:t>Read coefficients for equations from JSON</a:t>
                </a:r>
              </a:p>
              <a:p>
                <a:pPr marL="228600" indent="-228600">
                  <a:buAutoNum type="arabicPeriod"/>
                </a:pPr>
                <a:r>
                  <a:rPr lang="en-US" sz="1050" dirty="0"/>
                  <a:t>Set function pointers to isotherm equations, refrigerant equations, ...</a:t>
                </a:r>
              </a:p>
            </p:txBody>
          </p:sp>
          <p:grpSp>
            <p:nvGrpSpPr>
              <p:cNvPr id="17" name="Gruppieren 16">
                <a:extLst>
                  <a:ext uri="{FF2B5EF4-FFF2-40B4-BE49-F238E27FC236}">
                    <a16:creationId xmlns:a16="http://schemas.microsoft.com/office/drawing/2014/main" id="{C1A2573D-1344-43DC-B4D1-6A2D798DD795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7388188" y="730320"/>
                <a:ext cx="1415113" cy="582694"/>
                <a:chOff x="6317155" y="3152350"/>
                <a:chExt cx="2358521" cy="971156"/>
              </a:xfrm>
            </p:grpSpPr>
            <p:sp>
              <p:nvSpPr>
                <p:cNvPr id="19" name="Rechteck 18">
                  <a:extLst>
                    <a:ext uri="{FF2B5EF4-FFF2-40B4-BE49-F238E27FC236}">
                      <a16:creationId xmlns:a16="http://schemas.microsoft.com/office/drawing/2014/main" id="{FF8ED16B-5153-43CE-AC5A-80119C788B76}"/>
                    </a:ext>
                  </a:extLst>
                </p:cNvPr>
                <p:cNvSpPr/>
                <p:nvPr/>
              </p:nvSpPr>
              <p:spPr>
                <a:xfrm>
                  <a:off x="6317155" y="3152350"/>
                  <a:ext cx="2358521" cy="971156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762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864" tIns="27432" rIns="54864" bIns="27432" rtlCol="0" anchor="ctr"/>
                <a:lstStyle/>
                <a:p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" name="Flussdiagramm: Mehrere Dokumente 19">
                  <a:extLst>
                    <a:ext uri="{FF2B5EF4-FFF2-40B4-BE49-F238E27FC236}">
                      <a16:creationId xmlns:a16="http://schemas.microsoft.com/office/drawing/2014/main" id="{15C59C7A-E038-47C9-A50F-BCA357AA82BB}"/>
                    </a:ext>
                  </a:extLst>
                </p:cNvPr>
                <p:cNvSpPr/>
                <p:nvPr/>
              </p:nvSpPr>
              <p:spPr>
                <a:xfrm>
                  <a:off x="6462375" y="3584856"/>
                  <a:ext cx="596900" cy="406400"/>
                </a:xfrm>
                <a:prstGeom prst="flowChartMultidocument">
                  <a:avLst/>
                </a:prstGeom>
                <a:solidFill>
                  <a:srgbClr val="FFC000"/>
                </a:solidFill>
                <a:ln w="762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864" tIns="27432" rIns="54864" bIns="27432"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1" name="Textfeld 20">
                  <a:extLst>
                    <a:ext uri="{FF2B5EF4-FFF2-40B4-BE49-F238E27FC236}">
                      <a16:creationId xmlns:a16="http://schemas.microsoft.com/office/drawing/2014/main" id="{AFB883EC-CB26-4DCD-87E3-E4A691E6BC8E}"/>
                    </a:ext>
                  </a:extLst>
                </p:cNvPr>
                <p:cNvSpPr txBox="1"/>
                <p:nvPr/>
              </p:nvSpPr>
              <p:spPr>
                <a:xfrm>
                  <a:off x="6377611" y="3212375"/>
                  <a:ext cx="818865" cy="221599"/>
                </a:xfrm>
                <a:prstGeom prst="rect">
                  <a:avLst/>
                </a:prstGeom>
                <a:noFill/>
              </p:spPr>
              <p:txBody>
                <a:bodyPr wrap="square" lIns="54864" tIns="27432" rIns="54864" bIns="27432" rtlCol="0">
                  <a:spAutoFit/>
                </a:bodyPr>
                <a:lstStyle/>
                <a:p>
                  <a:pPr algn="ctr"/>
                  <a:r>
                    <a:rPr lang="en-US" sz="1080" b="1"/>
                    <a:t>JSON</a:t>
                  </a:r>
                  <a:endParaRPr lang="en-US" sz="1080" b="1" dirty="0"/>
                </a:p>
              </p:txBody>
            </p:sp>
            <p:sp>
              <p:nvSpPr>
                <p:cNvPr id="22" name="Textfeld 21">
                  <a:extLst>
                    <a:ext uri="{FF2B5EF4-FFF2-40B4-BE49-F238E27FC236}">
                      <a16:creationId xmlns:a16="http://schemas.microsoft.com/office/drawing/2014/main" id="{FB745699-117D-4315-94B2-1063AF9754AC}"/>
                    </a:ext>
                  </a:extLst>
                </p:cNvPr>
                <p:cNvSpPr txBox="1"/>
                <p:nvPr/>
              </p:nvSpPr>
              <p:spPr>
                <a:xfrm>
                  <a:off x="7178843" y="3314763"/>
                  <a:ext cx="1483917" cy="387798"/>
                </a:xfrm>
                <a:prstGeom prst="rect">
                  <a:avLst/>
                </a:prstGeom>
                <a:noFill/>
              </p:spPr>
              <p:txBody>
                <a:bodyPr wrap="square" lIns="54864" tIns="27432" rIns="54864" bIns="27432" rtlCol="0">
                  <a:spAutoFit/>
                </a:bodyPr>
                <a:lstStyle/>
                <a:p>
                  <a:pPr algn="ctr"/>
                  <a:r>
                    <a:rPr lang="en-US" sz="1080" dirty="0"/>
                    <a:t>Coefficient</a:t>
                  </a:r>
                </a:p>
                <a:p>
                  <a:pPr algn="ctr"/>
                  <a:r>
                    <a:rPr lang="en-US" sz="1080" dirty="0"/>
                    <a:t>database</a:t>
                  </a:r>
                </a:p>
              </p:txBody>
            </p:sp>
          </p:grpSp>
          <p:cxnSp>
            <p:nvCxnSpPr>
              <p:cNvPr id="24" name="Gerade Verbindung mit Pfeil 23">
                <a:extLst>
                  <a:ext uri="{FF2B5EF4-FFF2-40B4-BE49-F238E27FC236}">
                    <a16:creationId xmlns:a16="http://schemas.microsoft.com/office/drawing/2014/main" id="{28B1D431-181D-466A-9DC0-DEDF3B8F4DD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410472" y="860072"/>
                <a:ext cx="2977716" cy="855818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mit Pfeil 28">
                <a:extLst>
                  <a:ext uri="{FF2B5EF4-FFF2-40B4-BE49-F238E27FC236}">
                    <a16:creationId xmlns:a16="http://schemas.microsoft.com/office/drawing/2014/main" id="{0A0268AC-51E1-4616-9B5E-A281620F156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410472" y="1178724"/>
                <a:ext cx="2977716" cy="701356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Textfeld 39">
                <a:extLst>
                  <a:ext uri="{FF2B5EF4-FFF2-40B4-BE49-F238E27FC236}">
                    <a16:creationId xmlns:a16="http://schemas.microsoft.com/office/drawing/2014/main" id="{5CF65B70-1925-4233-8678-CCA565ECD4DB}"/>
                  </a:ext>
                </a:extLst>
              </p:cNvPr>
              <p:cNvSpPr txBox="1"/>
              <p:nvPr/>
            </p:nvSpPr>
            <p:spPr>
              <a:xfrm rot="20654157">
                <a:off x="4566644" y="872659"/>
                <a:ext cx="2472777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>
                    <a:solidFill>
                      <a:srgbClr val="FF0000"/>
                    </a:solidFill>
                  </a:rPr>
                  <a:t>(2) </a:t>
                </a:r>
                <a:r>
                  <a:rPr lang="en-US" sz="800" dirty="0" err="1"/>
                  <a:t>json_interface.c</a:t>
                </a:r>
                <a:r>
                  <a:rPr lang="en-US" sz="800" dirty="0"/>
                  <a:t>:</a:t>
                </a:r>
              </a:p>
              <a:p>
                <a:pPr algn="ctr"/>
                <a:r>
                  <a:rPr lang="en-US" sz="800" dirty="0"/>
                  <a:t>Loads JSON database </a:t>
                </a:r>
                <a:r>
                  <a:rPr lang="en-US" sz="800" dirty="0">
                    <a:sym typeface="Wingdings" panose="05000000000000000000" pitchFamily="2" charset="2"/>
                  </a:rPr>
                  <a:t> </a:t>
                </a:r>
                <a:r>
                  <a:rPr lang="en-US" sz="800" dirty="0"/>
                  <a:t>Searches database for working pair entry </a:t>
                </a:r>
                <a:r>
                  <a:rPr lang="en-US" sz="800" dirty="0">
                    <a:sym typeface="Wingdings" panose="05000000000000000000" pitchFamily="2" charset="2"/>
                  </a:rPr>
                  <a:t> Searches entry for equations</a:t>
                </a:r>
                <a:endParaRPr lang="en-US" sz="800" dirty="0"/>
              </a:p>
            </p:txBody>
          </p:sp>
          <p:sp>
            <p:nvSpPr>
              <p:cNvPr id="41" name="Textfeld 40">
                <a:extLst>
                  <a:ext uri="{FF2B5EF4-FFF2-40B4-BE49-F238E27FC236}">
                    <a16:creationId xmlns:a16="http://schemas.microsoft.com/office/drawing/2014/main" id="{F490C4F1-8D64-4C67-BED8-20D108C4E0BC}"/>
                  </a:ext>
                </a:extLst>
              </p:cNvPr>
              <p:cNvSpPr txBox="1"/>
              <p:nvPr/>
            </p:nvSpPr>
            <p:spPr>
              <a:xfrm rot="20789168">
                <a:off x="4496849" y="1493084"/>
                <a:ext cx="298518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>
                    <a:solidFill>
                      <a:srgbClr val="FF0000"/>
                    </a:solidFill>
                  </a:rPr>
                  <a:t>(3) </a:t>
                </a:r>
                <a:r>
                  <a:rPr lang="en-US" sz="800" dirty="0" err="1"/>
                  <a:t>json_interface.c</a:t>
                </a:r>
                <a:r>
                  <a:rPr lang="en-US" sz="800" dirty="0"/>
                  <a:t>:</a:t>
                </a:r>
              </a:p>
              <a:p>
                <a:pPr algn="ctr"/>
                <a:r>
                  <a:rPr lang="en-US" sz="800" dirty="0"/>
                  <a:t>For identified equations, return coefficients as arrays </a:t>
                </a:r>
                <a:r>
                  <a:rPr lang="en-US" sz="800" dirty="0">
                    <a:sym typeface="Wingdings" panose="05000000000000000000" pitchFamily="2" charset="2"/>
                  </a:rPr>
                  <a:t> Save arrays as attributes of </a:t>
                </a:r>
                <a:r>
                  <a:rPr lang="en-US" sz="800" dirty="0" err="1">
                    <a:sym typeface="Wingdings" panose="05000000000000000000" pitchFamily="2" charset="2"/>
                  </a:rPr>
                  <a:t>WorkingPair</a:t>
                </a:r>
                <a:r>
                  <a:rPr lang="en-US" sz="800" dirty="0">
                    <a:sym typeface="Wingdings" panose="05000000000000000000" pitchFamily="2" charset="2"/>
                  </a:rPr>
                  <a:t>-struct</a:t>
                </a:r>
                <a:endParaRPr lang="en-US" sz="800" dirty="0"/>
              </a:p>
            </p:txBody>
          </p:sp>
          <p:grpSp>
            <p:nvGrpSpPr>
              <p:cNvPr id="43" name="Gruppieren 42">
                <a:extLst>
                  <a:ext uri="{FF2B5EF4-FFF2-40B4-BE49-F238E27FC236}">
                    <a16:creationId xmlns:a16="http://schemas.microsoft.com/office/drawing/2014/main" id="{027551BE-CFAA-45FF-AE89-EB4F07A53257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7388188" y="2043541"/>
                <a:ext cx="1415113" cy="255518"/>
                <a:chOff x="6317155" y="3152350"/>
                <a:chExt cx="2358521" cy="710659"/>
              </a:xfrm>
            </p:grpSpPr>
            <p:sp>
              <p:nvSpPr>
                <p:cNvPr id="44" name="Rechteck 43">
                  <a:extLst>
                    <a:ext uri="{FF2B5EF4-FFF2-40B4-BE49-F238E27FC236}">
                      <a16:creationId xmlns:a16="http://schemas.microsoft.com/office/drawing/2014/main" id="{CB6C3762-ADB1-44DF-BA1D-18C77BC09A37}"/>
                    </a:ext>
                  </a:extLst>
                </p:cNvPr>
                <p:cNvSpPr/>
                <p:nvPr/>
              </p:nvSpPr>
              <p:spPr>
                <a:xfrm>
                  <a:off x="6317155" y="3152350"/>
                  <a:ext cx="2358521" cy="710659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762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864" tIns="27432" rIns="54864" bIns="27432" rtlCol="0" anchor="ctr"/>
                <a:lstStyle/>
                <a:p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6" name="Textfeld 45">
                  <a:extLst>
                    <a:ext uri="{FF2B5EF4-FFF2-40B4-BE49-F238E27FC236}">
                      <a16:creationId xmlns:a16="http://schemas.microsoft.com/office/drawing/2014/main" id="{B519B565-D15C-4465-8C10-0BF42C4DD3D2}"/>
                    </a:ext>
                  </a:extLst>
                </p:cNvPr>
                <p:cNvSpPr txBox="1"/>
                <p:nvPr/>
              </p:nvSpPr>
              <p:spPr>
                <a:xfrm>
                  <a:off x="6367738" y="3199517"/>
                  <a:ext cx="2257354" cy="616322"/>
                </a:xfrm>
                <a:prstGeom prst="rect">
                  <a:avLst/>
                </a:prstGeom>
                <a:noFill/>
              </p:spPr>
              <p:txBody>
                <a:bodyPr wrap="square" lIns="54864" tIns="27432" rIns="54864" bIns="27432" rtlCol="0" anchor="ctr">
                  <a:spAutoFit/>
                </a:bodyPr>
                <a:lstStyle/>
                <a:p>
                  <a:pPr algn="ctr"/>
                  <a:r>
                    <a:rPr lang="en-US" sz="1080" b="1" dirty="0"/>
                    <a:t>Adsorption-struct</a:t>
                  </a:r>
                </a:p>
              </p:txBody>
            </p:sp>
          </p:grpSp>
          <p:grpSp>
            <p:nvGrpSpPr>
              <p:cNvPr id="48" name="Gruppieren 47">
                <a:extLst>
                  <a:ext uri="{FF2B5EF4-FFF2-40B4-BE49-F238E27FC236}">
                    <a16:creationId xmlns:a16="http://schemas.microsoft.com/office/drawing/2014/main" id="{3F3206B6-A059-4350-AA9A-6E7066CD6B2F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7388188" y="2319980"/>
                <a:ext cx="1415113" cy="255518"/>
                <a:chOff x="6317155" y="3152350"/>
                <a:chExt cx="2358521" cy="710659"/>
              </a:xfrm>
            </p:grpSpPr>
            <p:sp>
              <p:nvSpPr>
                <p:cNvPr id="49" name="Rechteck 48">
                  <a:extLst>
                    <a:ext uri="{FF2B5EF4-FFF2-40B4-BE49-F238E27FC236}">
                      <a16:creationId xmlns:a16="http://schemas.microsoft.com/office/drawing/2014/main" id="{CBDA3A34-80ED-4727-A0A1-7927C41693C0}"/>
                    </a:ext>
                  </a:extLst>
                </p:cNvPr>
                <p:cNvSpPr/>
                <p:nvPr/>
              </p:nvSpPr>
              <p:spPr>
                <a:xfrm>
                  <a:off x="6317155" y="3152350"/>
                  <a:ext cx="2358521" cy="710659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762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864" tIns="27432" rIns="54864" bIns="27432" rtlCol="0" anchor="ctr"/>
                <a:lstStyle/>
                <a:p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" name="Textfeld 49">
                  <a:extLst>
                    <a:ext uri="{FF2B5EF4-FFF2-40B4-BE49-F238E27FC236}">
                      <a16:creationId xmlns:a16="http://schemas.microsoft.com/office/drawing/2014/main" id="{23AEA321-C66F-429B-B99B-11AD2FC5D598}"/>
                    </a:ext>
                  </a:extLst>
                </p:cNvPr>
                <p:cNvSpPr txBox="1"/>
                <p:nvPr/>
              </p:nvSpPr>
              <p:spPr>
                <a:xfrm>
                  <a:off x="6367738" y="3199517"/>
                  <a:ext cx="2257354" cy="616322"/>
                </a:xfrm>
                <a:prstGeom prst="rect">
                  <a:avLst/>
                </a:prstGeom>
                <a:noFill/>
              </p:spPr>
              <p:txBody>
                <a:bodyPr wrap="square" lIns="54864" tIns="27432" rIns="54864" bIns="27432" rtlCol="0" anchor="ctr">
                  <a:spAutoFit/>
                </a:bodyPr>
                <a:lstStyle/>
                <a:p>
                  <a:pPr algn="ctr"/>
                  <a:r>
                    <a:rPr lang="en-US" sz="1080" b="1" dirty="0"/>
                    <a:t>Refrigerant-struct</a:t>
                  </a:r>
                </a:p>
              </p:txBody>
            </p:sp>
          </p:grpSp>
          <p:cxnSp>
            <p:nvCxnSpPr>
              <p:cNvPr id="51" name="Gerade Verbindung mit Pfeil 50">
                <a:extLst>
                  <a:ext uri="{FF2B5EF4-FFF2-40B4-BE49-F238E27FC236}">
                    <a16:creationId xmlns:a16="http://schemas.microsoft.com/office/drawing/2014/main" id="{ED4E16F5-5BA0-45B2-A738-2212C0D627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00441" y="2282099"/>
                <a:ext cx="2982539" cy="27421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feld 52">
                <a:extLst>
                  <a:ext uri="{FF2B5EF4-FFF2-40B4-BE49-F238E27FC236}">
                    <a16:creationId xmlns:a16="http://schemas.microsoft.com/office/drawing/2014/main" id="{211C0105-A695-4FAB-907F-388B0D5EB055}"/>
                  </a:ext>
                </a:extLst>
              </p:cNvPr>
              <p:cNvSpPr txBox="1"/>
              <p:nvPr/>
            </p:nvSpPr>
            <p:spPr>
              <a:xfrm rot="60000">
                <a:off x="4370771" y="2264405"/>
                <a:ext cx="3057117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>
                    <a:solidFill>
                      <a:srgbClr val="FF0000"/>
                    </a:solidFill>
                  </a:rPr>
                  <a:t>(4) </a:t>
                </a:r>
                <a:r>
                  <a:rPr lang="en-US" sz="800" dirty="0" err="1"/>
                  <a:t>adsorption.c</a:t>
                </a:r>
                <a:r>
                  <a:rPr lang="en-US" sz="800" dirty="0"/>
                  <a:t> &amp; </a:t>
                </a:r>
                <a:r>
                  <a:rPr lang="en-US" sz="800" dirty="0" err="1"/>
                  <a:t>refrigerant.c</a:t>
                </a:r>
                <a:r>
                  <a:rPr lang="en-US" sz="800" dirty="0"/>
                  <a:t>: </a:t>
                </a:r>
              </a:p>
              <a:p>
                <a:pPr algn="ctr"/>
                <a:r>
                  <a:rPr lang="en-US" sz="800" dirty="0"/>
                  <a:t>Initialize corresponding structs </a:t>
                </a:r>
                <a:r>
                  <a:rPr lang="en-US" sz="800" dirty="0">
                    <a:sym typeface="Wingdings" panose="05000000000000000000" pitchFamily="2" charset="2"/>
                  </a:rPr>
                  <a:t> Search for isotherm and refrigerant equations  Save addresses of equations to function pointers of adsorption- and refrigerant struct </a:t>
                </a:r>
                <a:endParaRPr lang="en-US" sz="800" dirty="0"/>
              </a:p>
            </p:txBody>
          </p:sp>
        </p:grp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F51F058D-3DFD-4D47-A0D3-67A04CB52C20}"/>
                </a:ext>
              </a:extLst>
            </p:cNvPr>
            <p:cNvGrpSpPr>
              <a:grpSpLocks/>
            </p:cNvGrpSpPr>
            <p:nvPr/>
          </p:nvGrpSpPr>
          <p:grpSpPr>
            <a:xfrm>
              <a:off x="5089942" y="2945753"/>
              <a:ext cx="1415113" cy="255518"/>
              <a:chOff x="6317155" y="3152350"/>
              <a:chExt cx="2358521" cy="710659"/>
            </a:xfrm>
          </p:grpSpPr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B496526B-8DDB-4993-B635-D013B50D8542}"/>
                  </a:ext>
                </a:extLst>
              </p:cNvPr>
              <p:cNvSpPr/>
              <p:nvPr/>
            </p:nvSpPr>
            <p:spPr>
              <a:xfrm>
                <a:off x="6317155" y="3152350"/>
                <a:ext cx="2358521" cy="710659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762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864" tIns="27432" rIns="54864" bIns="27432" rtlCol="0" anchor="ctr"/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62DD6AB7-45DC-4776-975D-542F6BA8AA9F}"/>
                  </a:ext>
                </a:extLst>
              </p:cNvPr>
              <p:cNvSpPr txBox="1"/>
              <p:nvPr/>
            </p:nvSpPr>
            <p:spPr>
              <a:xfrm>
                <a:off x="6367738" y="3199517"/>
                <a:ext cx="2257354" cy="616322"/>
              </a:xfrm>
              <a:prstGeom prst="rect">
                <a:avLst/>
              </a:prstGeom>
              <a:noFill/>
            </p:spPr>
            <p:txBody>
              <a:bodyPr wrap="square" lIns="54864" tIns="27432" rIns="54864" bIns="27432" rtlCol="0" anchor="ctr">
                <a:spAutoFit/>
              </a:bodyPr>
              <a:lstStyle/>
              <a:p>
                <a:pPr algn="ctr"/>
                <a:r>
                  <a:rPr lang="en-US" sz="1080" b="1" dirty="0" err="1"/>
                  <a:t>WorkingPair</a:t>
                </a:r>
                <a:r>
                  <a:rPr lang="en-US" sz="1080" b="1" dirty="0"/>
                  <a:t>-struct</a:t>
                </a:r>
              </a:p>
            </p:txBody>
          </p:sp>
        </p:grpSp>
        <p:cxnSp>
          <p:nvCxnSpPr>
            <p:cNvPr id="8" name="Verbinder: gewinkelt 7">
              <a:extLst>
                <a:ext uri="{FF2B5EF4-FFF2-40B4-BE49-F238E27FC236}">
                  <a16:creationId xmlns:a16="http://schemas.microsoft.com/office/drawing/2014/main" id="{98F13D0C-B581-4CE4-8427-653DDFA67DC9}"/>
                </a:ext>
              </a:extLst>
            </p:cNvPr>
            <p:cNvCxnSpPr>
              <a:endCxn id="32" idx="1"/>
            </p:cNvCxnSpPr>
            <p:nvPr/>
          </p:nvCxnSpPr>
          <p:spPr>
            <a:xfrm>
              <a:off x="3687371" y="2650602"/>
              <a:ext cx="1402571" cy="422910"/>
            </a:xfrm>
            <a:prstGeom prst="bentConnector3">
              <a:avLst>
                <a:gd name="adj1" fmla="val -336"/>
              </a:avLst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31349E55-09C9-4BA8-A147-3774119CA587}"/>
                </a:ext>
              </a:extLst>
            </p:cNvPr>
            <p:cNvSpPr txBox="1"/>
            <p:nvPr/>
          </p:nvSpPr>
          <p:spPr>
            <a:xfrm>
              <a:off x="3605398" y="2840183"/>
              <a:ext cx="1536035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rgbClr val="FF0000"/>
                  </a:solidFill>
                </a:rPr>
                <a:t>(5) </a:t>
              </a:r>
              <a:r>
                <a:rPr lang="en-US" sz="1050" dirty="0" err="1"/>
                <a:t>WorkingPair</a:t>
              </a:r>
              <a:r>
                <a:rPr lang="en-US" sz="1050" dirty="0"/>
                <a:t>-struct</a:t>
              </a:r>
            </a:p>
          </p:txBody>
        </p:sp>
        <p:grpSp>
          <p:nvGrpSpPr>
            <p:cNvPr id="69" name="Gruppieren 68">
              <a:extLst>
                <a:ext uri="{FF2B5EF4-FFF2-40B4-BE49-F238E27FC236}">
                  <a16:creationId xmlns:a16="http://schemas.microsoft.com/office/drawing/2014/main" id="{2AA69DCB-0C7F-4079-A5D2-F05E222AA2B6}"/>
                </a:ext>
              </a:extLst>
            </p:cNvPr>
            <p:cNvGrpSpPr/>
            <p:nvPr/>
          </p:nvGrpSpPr>
          <p:grpSpPr>
            <a:xfrm>
              <a:off x="1792288" y="3297845"/>
              <a:ext cx="5014720" cy="1191407"/>
              <a:chOff x="1792288" y="3297845"/>
              <a:chExt cx="5014720" cy="1191407"/>
            </a:xfrm>
          </p:grpSpPr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8B70001-ECFD-4B73-8A18-8FA54FD2A010}"/>
                  </a:ext>
                </a:extLst>
              </p:cNvPr>
              <p:cNvSpPr/>
              <p:nvPr/>
            </p:nvSpPr>
            <p:spPr>
              <a:xfrm>
                <a:off x="1792288" y="3297845"/>
                <a:ext cx="5014720" cy="119140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2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5" name="Gruppieren 34">
                <a:extLst>
                  <a:ext uri="{FF2B5EF4-FFF2-40B4-BE49-F238E27FC236}">
                    <a16:creationId xmlns:a16="http://schemas.microsoft.com/office/drawing/2014/main" id="{A2868FE5-6496-401D-8EBC-61BE2DB11E94}"/>
                  </a:ext>
                </a:extLst>
              </p:cNvPr>
              <p:cNvGrpSpPr/>
              <p:nvPr/>
            </p:nvGrpSpPr>
            <p:grpSpPr>
              <a:xfrm>
                <a:off x="1829910" y="3350639"/>
                <a:ext cx="1328874" cy="360000"/>
                <a:chOff x="2807625" y="697496"/>
                <a:chExt cx="1328874" cy="360000"/>
              </a:xfrm>
            </p:grpSpPr>
            <p:sp>
              <p:nvSpPr>
                <p:cNvPr id="36" name="Ellipse 35">
                  <a:extLst>
                    <a:ext uri="{FF2B5EF4-FFF2-40B4-BE49-F238E27FC236}">
                      <a16:creationId xmlns:a16="http://schemas.microsoft.com/office/drawing/2014/main" id="{D8D770FC-61AF-4D46-BFAF-DEE241227489}"/>
                    </a:ext>
                  </a:extLst>
                </p:cNvPr>
                <p:cNvSpPr/>
                <p:nvPr/>
              </p:nvSpPr>
              <p:spPr>
                <a:xfrm>
                  <a:off x="2807625" y="697496"/>
                  <a:ext cx="360000" cy="360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b="1" dirty="0"/>
                    <a:t>2</a:t>
                  </a:r>
                </a:p>
              </p:txBody>
            </p:sp>
            <p:sp>
              <p:nvSpPr>
                <p:cNvPr id="37" name="Rechteck: abgerundete Ecken 36">
                  <a:extLst>
                    <a:ext uri="{FF2B5EF4-FFF2-40B4-BE49-F238E27FC236}">
                      <a16:creationId xmlns:a16="http://schemas.microsoft.com/office/drawing/2014/main" id="{074DDCD9-5149-40AE-BC87-4640739FED28}"/>
                    </a:ext>
                  </a:extLst>
                </p:cNvPr>
                <p:cNvSpPr/>
                <p:nvPr/>
              </p:nvSpPr>
              <p:spPr>
                <a:xfrm>
                  <a:off x="3208679" y="733496"/>
                  <a:ext cx="927820" cy="288000"/>
                </a:xfrm>
                <a:prstGeom prst="roundRect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dirty="0"/>
                    <a:t>Usage</a:t>
                  </a:r>
                </a:p>
              </p:txBody>
            </p:sp>
          </p:grpSp>
          <p:sp>
            <p:nvSpPr>
              <p:cNvPr id="47" name="Textfeld 46">
                <a:extLst>
                  <a:ext uri="{FF2B5EF4-FFF2-40B4-BE49-F238E27FC236}">
                    <a16:creationId xmlns:a16="http://schemas.microsoft.com/office/drawing/2014/main" id="{76104EDB-269E-4F0E-8093-7C2960D317C3}"/>
                  </a:ext>
                </a:extLst>
              </p:cNvPr>
              <p:cNvSpPr txBox="1"/>
              <p:nvPr/>
            </p:nvSpPr>
            <p:spPr>
              <a:xfrm>
                <a:off x="3199839" y="3319236"/>
                <a:ext cx="3607169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050" dirty="0"/>
                  <a:t>User can call, for example, different adsorption equations depending on isotherm type by wrapper functions of </a:t>
                </a:r>
                <a:r>
                  <a:rPr lang="en-US" sz="1050" dirty="0" err="1"/>
                  <a:t>WorkingPair</a:t>
                </a:r>
                <a:r>
                  <a:rPr lang="en-US" sz="1050" dirty="0"/>
                  <a:t>-struct </a:t>
                </a:r>
                <a:r>
                  <a:rPr lang="en-US" sz="1050" dirty="0">
                    <a:sym typeface="Wingdings" panose="05000000000000000000" pitchFamily="2" charset="2"/>
                  </a:rPr>
                  <a:t> Wrapper function calls internally correct equation by function pointers of Adsorption-struct:</a:t>
                </a:r>
                <a:endParaRPr lang="en-US" sz="1050" dirty="0"/>
              </a:p>
            </p:txBody>
          </p:sp>
          <p:sp>
            <p:nvSpPr>
              <p:cNvPr id="52" name="Textfeld 51">
                <a:extLst>
                  <a:ext uri="{FF2B5EF4-FFF2-40B4-BE49-F238E27FC236}">
                    <a16:creationId xmlns:a16="http://schemas.microsoft.com/office/drawing/2014/main" id="{9FAD333B-6D7C-48FB-97FE-217E75440DA3}"/>
                  </a:ext>
                </a:extLst>
              </p:cNvPr>
              <p:cNvSpPr txBox="1"/>
              <p:nvPr/>
            </p:nvSpPr>
            <p:spPr>
              <a:xfrm>
                <a:off x="3218550" y="4030394"/>
                <a:ext cx="3588458" cy="4539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050" dirty="0">
                    <a:solidFill>
                      <a:srgbClr val="FF0000"/>
                    </a:solidFill>
                  </a:rPr>
                  <a:t>(6) </a:t>
                </a:r>
                <a:r>
                  <a:rPr lang="en-US" sz="1050" dirty="0"/>
                  <a:t>double </a:t>
                </a:r>
                <a:r>
                  <a:rPr lang="en-US" sz="1050" dirty="0" err="1"/>
                  <a:t>w_pT</a:t>
                </a:r>
                <a:r>
                  <a:rPr lang="en-US" sz="1050" dirty="0"/>
                  <a:t>(double p, double T, void* </a:t>
                </a:r>
                <a:r>
                  <a:rPr lang="en-US" sz="1050" dirty="0" err="1"/>
                  <a:t>workingPair</a:t>
                </a:r>
                <a:r>
                  <a:rPr lang="en-US" sz="1050" dirty="0"/>
                  <a:t>):</a:t>
                </a:r>
              </a:p>
              <a:p>
                <a:pPr>
                  <a:spcAft>
                    <a:spcPts val="300"/>
                  </a:spcAft>
                </a:pPr>
                <a:r>
                  <a:rPr lang="en-US" sz="1050" dirty="0">
                    <a:sym typeface="Wingdings" panose="05000000000000000000" pitchFamily="2" charset="2"/>
                  </a:rPr>
                  <a:t>Adsorption-struct  Isotherm type  </a:t>
                </a:r>
                <a:r>
                  <a:rPr lang="en-US" sz="1050" dirty="0" err="1">
                    <a:sym typeface="Wingdings" panose="05000000000000000000" pitchFamily="2" charset="2"/>
                  </a:rPr>
                  <a:t>w_pT</a:t>
                </a:r>
                <a:endParaRPr lang="en-US" sz="1050" dirty="0"/>
              </a:p>
            </p:txBody>
          </p:sp>
        </p:grpSp>
        <p:cxnSp>
          <p:nvCxnSpPr>
            <p:cNvPr id="54" name="Gerade Verbindung mit Pfeil 53">
              <a:extLst>
                <a:ext uri="{FF2B5EF4-FFF2-40B4-BE49-F238E27FC236}">
                  <a16:creationId xmlns:a16="http://schemas.microsoft.com/office/drawing/2014/main" id="{AE56B51A-A358-45C9-B883-A787F5DDB275}"/>
                </a:ext>
              </a:extLst>
            </p:cNvPr>
            <p:cNvCxnSpPr>
              <a:cxnSpLocks/>
            </p:cNvCxnSpPr>
            <p:nvPr/>
          </p:nvCxnSpPr>
          <p:spPr>
            <a:xfrm>
              <a:off x="338550" y="4257379"/>
              <a:ext cx="2880000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D0DB2851-0DAB-42F0-9455-211C5D43EA9D}"/>
                </a:ext>
              </a:extLst>
            </p:cNvPr>
            <p:cNvSpPr txBox="1"/>
            <p:nvPr/>
          </p:nvSpPr>
          <p:spPr>
            <a:xfrm>
              <a:off x="287338" y="3358253"/>
              <a:ext cx="1463895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900" u="sng" dirty="0"/>
                <a:t>Inputs by user are:</a:t>
              </a:r>
            </a:p>
            <a:p>
              <a:pPr marL="228600" indent="-228600">
                <a:buAutoNum type="arabicPeriod"/>
              </a:pPr>
              <a:r>
                <a:rPr lang="en-US" sz="900" dirty="0"/>
                <a:t>Pressure p in Pa</a:t>
              </a:r>
            </a:p>
            <a:p>
              <a:pPr marL="228600" indent="-228600">
                <a:buAutoNum type="arabicPeriod"/>
              </a:pPr>
              <a:r>
                <a:rPr lang="en-US" sz="900" dirty="0"/>
                <a:t>Temperature T in K</a:t>
              </a:r>
            </a:p>
            <a:p>
              <a:pPr marL="228600" indent="-228600">
                <a:buAutoNum type="arabicPeriod"/>
              </a:pPr>
              <a:r>
                <a:rPr lang="en-US" sz="900" dirty="0"/>
                <a:t>Pointer to </a:t>
              </a:r>
              <a:r>
                <a:rPr lang="en-US" sz="900" dirty="0" err="1"/>
                <a:t>WorkingPair</a:t>
              </a:r>
              <a:r>
                <a:rPr lang="en-US" sz="900" dirty="0"/>
                <a:t>-struct</a:t>
              </a:r>
            </a:p>
          </p:txBody>
        </p:sp>
        <p:cxnSp>
          <p:nvCxnSpPr>
            <p:cNvPr id="56" name="Verbinder: gewinkelt 55">
              <a:extLst>
                <a:ext uri="{FF2B5EF4-FFF2-40B4-BE49-F238E27FC236}">
                  <a16:creationId xmlns:a16="http://schemas.microsoft.com/office/drawing/2014/main" id="{D19507EA-E3B0-4DDF-A14A-F80BCC7AD18C}"/>
                </a:ext>
              </a:extLst>
            </p:cNvPr>
            <p:cNvCxnSpPr>
              <a:cxnSpLocks/>
              <a:stCxn id="32" idx="3"/>
              <a:endCxn id="34" idx="3"/>
            </p:cNvCxnSpPr>
            <p:nvPr/>
          </p:nvCxnSpPr>
          <p:spPr>
            <a:xfrm>
              <a:off x="6505055" y="3073512"/>
              <a:ext cx="301953" cy="820037"/>
            </a:xfrm>
            <a:prstGeom prst="bentConnector3">
              <a:avLst>
                <a:gd name="adj1" fmla="val 155988"/>
              </a:avLst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Verbinder: gewinkelt 61">
              <a:extLst>
                <a:ext uri="{FF2B5EF4-FFF2-40B4-BE49-F238E27FC236}">
                  <a16:creationId xmlns:a16="http://schemas.microsoft.com/office/drawing/2014/main" id="{DE642426-DAF6-45B3-BC92-FADFC8D440F7}"/>
                </a:ext>
              </a:extLst>
            </p:cNvPr>
            <p:cNvCxnSpPr>
              <a:cxnSpLocks/>
              <a:stCxn id="32" idx="3"/>
              <a:endCxn id="57" idx="0"/>
            </p:cNvCxnSpPr>
            <p:nvPr/>
          </p:nvCxnSpPr>
          <p:spPr>
            <a:xfrm>
              <a:off x="6505055" y="3073512"/>
              <a:ext cx="1567183" cy="224333"/>
            </a:xfrm>
            <a:prstGeom prst="bentConnector2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2D1B2403-A160-48DC-A1B5-B066E7C6A1AD}"/>
                </a:ext>
              </a:extLst>
            </p:cNvPr>
            <p:cNvGrpSpPr/>
            <p:nvPr/>
          </p:nvGrpSpPr>
          <p:grpSpPr>
            <a:xfrm>
              <a:off x="7101512" y="3297845"/>
              <a:ext cx="1927656" cy="1203973"/>
              <a:chOff x="7101512" y="3297845"/>
              <a:chExt cx="1927656" cy="1203973"/>
            </a:xfrm>
          </p:grpSpPr>
          <p:sp>
            <p:nvSpPr>
              <p:cNvPr id="57" name="Rechteck 56">
                <a:extLst>
                  <a:ext uri="{FF2B5EF4-FFF2-40B4-BE49-F238E27FC236}">
                    <a16:creationId xmlns:a16="http://schemas.microsoft.com/office/drawing/2014/main" id="{21626C69-470B-4A2C-B94D-77A4A7873A8D}"/>
                  </a:ext>
                </a:extLst>
              </p:cNvPr>
              <p:cNvSpPr/>
              <p:nvPr/>
            </p:nvSpPr>
            <p:spPr>
              <a:xfrm>
                <a:off x="7115308" y="3297845"/>
                <a:ext cx="1913860" cy="119140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2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9" name="Gruppieren 58">
                <a:extLst>
                  <a:ext uri="{FF2B5EF4-FFF2-40B4-BE49-F238E27FC236}">
                    <a16:creationId xmlns:a16="http://schemas.microsoft.com/office/drawing/2014/main" id="{DAEEB4AB-4582-4B40-A83B-4BC444378C65}"/>
                  </a:ext>
                </a:extLst>
              </p:cNvPr>
              <p:cNvGrpSpPr/>
              <p:nvPr/>
            </p:nvGrpSpPr>
            <p:grpSpPr>
              <a:xfrm>
                <a:off x="7169023" y="3350639"/>
                <a:ext cx="1045536" cy="360000"/>
                <a:chOff x="2807625" y="697496"/>
                <a:chExt cx="1045536" cy="360000"/>
              </a:xfrm>
            </p:grpSpPr>
            <p:sp>
              <p:nvSpPr>
                <p:cNvPr id="60" name="Ellipse 59">
                  <a:extLst>
                    <a:ext uri="{FF2B5EF4-FFF2-40B4-BE49-F238E27FC236}">
                      <a16:creationId xmlns:a16="http://schemas.microsoft.com/office/drawing/2014/main" id="{2EAC4C57-A73B-479F-AE0D-18FAEC4A4BFE}"/>
                    </a:ext>
                  </a:extLst>
                </p:cNvPr>
                <p:cNvSpPr/>
                <p:nvPr/>
              </p:nvSpPr>
              <p:spPr>
                <a:xfrm>
                  <a:off x="2807625" y="697496"/>
                  <a:ext cx="360000" cy="360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b="1" dirty="0"/>
                    <a:t>3</a:t>
                  </a:r>
                </a:p>
              </p:txBody>
            </p:sp>
            <p:sp>
              <p:nvSpPr>
                <p:cNvPr id="61" name="Rechteck: abgerundete Ecken 60">
                  <a:extLst>
                    <a:ext uri="{FF2B5EF4-FFF2-40B4-BE49-F238E27FC236}">
                      <a16:creationId xmlns:a16="http://schemas.microsoft.com/office/drawing/2014/main" id="{AB60F875-FB85-4AFE-9B98-FE79BA68D295}"/>
                    </a:ext>
                  </a:extLst>
                </p:cNvPr>
                <p:cNvSpPr/>
                <p:nvPr/>
              </p:nvSpPr>
              <p:spPr>
                <a:xfrm>
                  <a:off x="3208679" y="733496"/>
                  <a:ext cx="644482" cy="288000"/>
                </a:xfrm>
                <a:prstGeom prst="roundRect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dirty="0"/>
                    <a:t>End</a:t>
                  </a:r>
                </a:p>
              </p:txBody>
            </p:sp>
          </p:grpSp>
          <p:sp>
            <p:nvSpPr>
              <p:cNvPr id="65" name="Textfeld 64">
                <a:extLst>
                  <a:ext uri="{FF2B5EF4-FFF2-40B4-BE49-F238E27FC236}">
                    <a16:creationId xmlns:a16="http://schemas.microsoft.com/office/drawing/2014/main" id="{374CEE8F-F549-4B44-A0F4-211293E8B736}"/>
                  </a:ext>
                </a:extLst>
              </p:cNvPr>
              <p:cNvSpPr txBox="1"/>
              <p:nvPr/>
            </p:nvSpPr>
            <p:spPr>
              <a:xfrm>
                <a:off x="7115307" y="3735322"/>
                <a:ext cx="1741355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050" dirty="0"/>
                  <a:t>Free allocated memory of </a:t>
                </a:r>
                <a:r>
                  <a:rPr lang="en-US" sz="1050" dirty="0" err="1"/>
                  <a:t>WorkingPair</a:t>
                </a:r>
                <a:r>
                  <a:rPr lang="en-US" sz="1050" dirty="0"/>
                  <a:t>-struct</a:t>
                </a:r>
              </a:p>
            </p:txBody>
          </p:sp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6691166E-EF60-4DFF-BFBB-A1919C8BB84E}"/>
                  </a:ext>
                </a:extLst>
              </p:cNvPr>
              <p:cNvSpPr txBox="1"/>
              <p:nvPr/>
            </p:nvSpPr>
            <p:spPr>
              <a:xfrm>
                <a:off x="7101512" y="4086320"/>
                <a:ext cx="1927656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solidFill>
                      <a:srgbClr val="FF0000"/>
                    </a:solidFill>
                  </a:rPr>
                  <a:t>(7) </a:t>
                </a:r>
                <a:r>
                  <a:rPr lang="en-US" sz="1050" dirty="0"/>
                  <a:t>void </a:t>
                </a:r>
                <a:r>
                  <a:rPr lang="en-US" sz="1050" dirty="0" err="1"/>
                  <a:t>delWorkingPair</a:t>
                </a:r>
                <a:r>
                  <a:rPr lang="en-US" sz="1050" dirty="0"/>
                  <a:t>(void* </a:t>
                </a:r>
                <a:r>
                  <a:rPr lang="en-US" sz="1050" dirty="0" err="1"/>
                  <a:t>workingPair</a:t>
                </a:r>
                <a:r>
                  <a:rPr lang="en-US" sz="1050" dirty="0"/>
                  <a:t>)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856995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 of the C wrapper: Directory structur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16/01/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SorpPropLib</a:t>
            </a:r>
            <a:r>
              <a:rPr lang="en-US" dirty="0"/>
              <a:t>: C-Wrapper</a:t>
            </a:r>
          </a:p>
        </p:txBody>
      </p:sp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0D87D7A2-D0D9-4553-AA69-0CDFEFB861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41322406"/>
              </p:ext>
            </p:extLst>
          </p:nvPr>
        </p:nvGraphicFramePr>
        <p:xfrm>
          <a:off x="287337" y="565947"/>
          <a:ext cx="7019357" cy="39875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184C7AE-1479-4697-B874-3370C17FC3A0}"/>
              </a:ext>
            </a:extLst>
          </p:cNvPr>
          <p:cNvGrpSpPr/>
          <p:nvPr/>
        </p:nvGrpSpPr>
        <p:grpSpPr>
          <a:xfrm>
            <a:off x="6291245" y="3025458"/>
            <a:ext cx="2652385" cy="1200329"/>
            <a:chOff x="-52973" y="4157391"/>
            <a:chExt cx="2652385" cy="1200329"/>
          </a:xfrm>
        </p:grpSpPr>
        <p:sp>
          <p:nvSpPr>
            <p:cNvPr id="10" name="Pfeil nach rechts 6">
              <a:extLst>
                <a:ext uri="{FF2B5EF4-FFF2-40B4-BE49-F238E27FC236}">
                  <a16:creationId xmlns:a16="http://schemas.microsoft.com/office/drawing/2014/main" id="{34C8960D-CC48-45C3-A3E6-4D4DD406B97E}"/>
                </a:ext>
              </a:extLst>
            </p:cNvPr>
            <p:cNvSpPr/>
            <p:nvPr/>
          </p:nvSpPr>
          <p:spPr>
            <a:xfrm>
              <a:off x="-52973" y="4622556"/>
              <a:ext cx="540000" cy="27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BAA7E099-FB96-4421-86E8-9E579F632531}"/>
                </a:ext>
              </a:extLst>
            </p:cNvPr>
            <p:cNvSpPr txBox="1"/>
            <p:nvPr/>
          </p:nvSpPr>
          <p:spPr>
            <a:xfrm>
              <a:off x="487027" y="4157391"/>
              <a:ext cx="211238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err="1"/>
                <a:t>Makefile</a:t>
              </a:r>
              <a:r>
                <a:rPr lang="en-US" b="1" dirty="0"/>
                <a:t> for MSVS-compiler to create easily DLL of C wrapper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783129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</p:tagLst>
</file>

<file path=ppt/theme/theme1.xml><?xml version="1.0" encoding="utf-8"?>
<a:theme xmlns:a="http://schemas.openxmlformats.org/drawingml/2006/main" name="2014_LTT_Vorlesung_neu">
  <a:themeElements>
    <a:clrScheme name="RWTH-Design">
      <a:dk1>
        <a:srgbClr val="000000"/>
      </a:dk1>
      <a:lt1>
        <a:srgbClr val="FFFFFF"/>
      </a:lt1>
      <a:dk2>
        <a:srgbClr val="00549F"/>
      </a:dk2>
      <a:lt2>
        <a:srgbClr val="E30066"/>
      </a:lt2>
      <a:accent1>
        <a:srgbClr val="FFED00"/>
      </a:accent1>
      <a:accent2>
        <a:srgbClr val="006165"/>
      </a:accent2>
      <a:accent3>
        <a:srgbClr val="0098A1"/>
      </a:accent3>
      <a:accent4>
        <a:srgbClr val="57AB22"/>
      </a:accent4>
      <a:accent5>
        <a:srgbClr val="F6A800"/>
      </a:accent5>
      <a:accent6>
        <a:srgbClr val="CC071E"/>
      </a:accent6>
      <a:hlink>
        <a:srgbClr val="A11035"/>
      </a:hlink>
      <a:folHlink>
        <a:srgbClr val="61215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40626_Powerpointvorlage_institute" id="{F89903F1-990E-4F44-9E3F-225D88EC6716}" vid="{67F58320-DBAD-445F-8951-399E9560E2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_16zu9</Template>
  <TotalTime>0</TotalTime>
  <Words>1691</Words>
  <Application>Microsoft Office PowerPoint</Application>
  <PresentationFormat>Bildschirmpräsentation (16:9)</PresentationFormat>
  <Paragraphs>300</Paragraphs>
  <Slides>14</Slides>
  <Notes>1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9" baseType="lpstr">
      <vt:lpstr>Arial</vt:lpstr>
      <vt:lpstr>Calibri</vt:lpstr>
      <vt:lpstr>Symbol</vt:lpstr>
      <vt:lpstr>Wingdings</vt:lpstr>
      <vt:lpstr>2014_LTT_Vorlesung_neu</vt:lpstr>
      <vt:lpstr>SorpPropLib: Workflow of the C-Wrapper</vt:lpstr>
      <vt:lpstr>The SorpPropLib: What it is for!</vt:lpstr>
      <vt:lpstr>How to use the SorpPropLib?</vt:lpstr>
      <vt:lpstr>Workflow of the C wrapper</vt:lpstr>
      <vt:lpstr>Initialization: Layout of the WorkingPair-struct</vt:lpstr>
      <vt:lpstr>Usage: Layout of the equilibrium equations</vt:lpstr>
      <vt:lpstr>End of program: Layout of the WorkingPair-destructor</vt:lpstr>
      <vt:lpstr>Workflow of the C wrapper: Data flow of user input</vt:lpstr>
      <vt:lpstr>Workflow of the C wrapper: Directory structure</vt:lpstr>
      <vt:lpstr>Structure of JSON database</vt:lpstr>
      <vt:lpstr>Implemented refrigerants</vt:lpstr>
      <vt:lpstr>Implemented working pairs</vt:lpstr>
      <vt:lpstr>Implemented refrigerant and isotherm functions</vt:lpstr>
      <vt:lpstr>Implemented refrigerant and isotherm func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rption database</dc:title>
  <dc:creator>Mirko Engelpracht</dc:creator>
  <cp:lastModifiedBy>Mirko Engelpracht</cp:lastModifiedBy>
  <cp:revision>56</cp:revision>
  <dcterms:created xsi:type="dcterms:W3CDTF">2019-10-14T11:58:29Z</dcterms:created>
  <dcterms:modified xsi:type="dcterms:W3CDTF">2020-01-16T12:50:57Z</dcterms:modified>
</cp:coreProperties>
</file>